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38" r:id="rId4"/>
  </p:sldMasterIdLst>
  <p:notesMasterIdLst>
    <p:notesMasterId r:id="rId11"/>
  </p:notesMasterIdLst>
  <p:handoutMasterIdLst>
    <p:handoutMasterId r:id="rId12"/>
  </p:handoutMasterIdLst>
  <p:sldIdLst>
    <p:sldId id="8825" r:id="rId5"/>
    <p:sldId id="290" r:id="rId6"/>
    <p:sldId id="292" r:id="rId7"/>
    <p:sldId id="276" r:id="rId8"/>
    <p:sldId id="279" r:id="rId9"/>
    <p:sldId id="8865" r:id="rId10"/>
  </p:sldIdLst>
  <p:sldSz cx="12192000" cy="6858000"/>
  <p:notesSz cx="7104063" cy="102346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C811"/>
    <a:srgbClr val="EDC30D"/>
    <a:srgbClr val="F2C812"/>
    <a:srgbClr val="494949"/>
    <a:srgbClr val="FFC000"/>
    <a:srgbClr val="DEEBF7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38BF2FD-74E7-4A1A-92F6-F718EE56C65E}" v="8" dt="2019-11-08T18:09:33.340"/>
  </p1510:revLst>
</p1510:revInfo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528" autoAdjust="0"/>
    <p:restoredTop sz="71065" autoAdjust="0"/>
  </p:normalViewPr>
  <p:slideViewPr>
    <p:cSldViewPr snapToGrid="0">
      <p:cViewPr varScale="1">
        <p:scale>
          <a:sx n="79" d="100"/>
          <a:sy n="79" d="100"/>
        </p:scale>
        <p:origin x="84" y="2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4B536DF-88AC-448D-B540-7F766040127F}" type="doc">
      <dgm:prSet loTypeId="urn:microsoft.com/office/officeart/2009/3/layout/HorizontalOrganizationChart" loCatId="hierarchy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9018C639-B15B-4ECF-9E83-173C32DF5BB7}">
      <dgm:prSet/>
      <dgm:spPr>
        <a:solidFill>
          <a:srgbClr val="F2C811"/>
        </a:solidFill>
      </dgm:spPr>
      <dgm:t>
        <a:bodyPr/>
        <a:lstStyle/>
        <a:p>
          <a:r>
            <a:rPr lang="en-US" baseline="0">
              <a:solidFill>
                <a:schemeClr val="tx1"/>
              </a:solidFill>
            </a:rPr>
            <a:t>Data Location</a:t>
          </a:r>
          <a:endParaRPr lang="en-GB">
            <a:solidFill>
              <a:schemeClr val="tx1"/>
            </a:solidFill>
          </a:endParaRPr>
        </a:p>
      </dgm:t>
    </dgm:pt>
    <dgm:pt modelId="{B4EC6EBF-21C2-480E-87B2-7F1A073B6359}" type="parTrans" cxnId="{7E08D08F-C0F9-417B-8132-83B45B41F630}">
      <dgm:prSet/>
      <dgm:spPr/>
      <dgm:t>
        <a:bodyPr/>
        <a:lstStyle/>
        <a:p>
          <a:endParaRPr lang="en-US"/>
        </a:p>
      </dgm:t>
    </dgm:pt>
    <dgm:pt modelId="{4E855D6E-212E-406F-9D3B-844BE56C2D9A}" type="sibTrans" cxnId="{7E08D08F-C0F9-417B-8132-83B45B41F630}">
      <dgm:prSet/>
      <dgm:spPr/>
      <dgm:t>
        <a:bodyPr/>
        <a:lstStyle/>
        <a:p>
          <a:endParaRPr lang="en-US"/>
        </a:p>
      </dgm:t>
    </dgm:pt>
    <dgm:pt modelId="{D286143D-BDC1-499D-885B-6D79F1C29B05}">
      <dgm:prSet/>
      <dgm:spPr>
        <a:solidFill>
          <a:srgbClr val="F2C811"/>
        </a:solidFill>
      </dgm:spPr>
      <dgm:t>
        <a:bodyPr/>
        <a:lstStyle/>
        <a:p>
          <a:r>
            <a:rPr lang="en-GB">
              <a:solidFill>
                <a:schemeClr val="tx1"/>
              </a:solidFill>
            </a:rPr>
            <a:t>On-Premises</a:t>
          </a:r>
        </a:p>
      </dgm:t>
    </dgm:pt>
    <dgm:pt modelId="{4FE4810C-569E-4D3D-9DCC-5469C4726500}" type="parTrans" cxnId="{32B858B2-4930-4243-A6E4-17F4579F2AE2}">
      <dgm:prSet/>
      <dgm:spPr/>
      <dgm:t>
        <a:bodyPr/>
        <a:lstStyle/>
        <a:p>
          <a:endParaRPr lang="en-US"/>
        </a:p>
      </dgm:t>
    </dgm:pt>
    <dgm:pt modelId="{18485489-1EC0-4AD0-B01F-90A2A7581FA1}" type="sibTrans" cxnId="{32B858B2-4930-4243-A6E4-17F4579F2AE2}">
      <dgm:prSet/>
      <dgm:spPr/>
      <dgm:t>
        <a:bodyPr/>
        <a:lstStyle/>
        <a:p>
          <a:endParaRPr lang="en-US"/>
        </a:p>
      </dgm:t>
    </dgm:pt>
    <dgm:pt modelId="{D986FB5D-0CA7-4649-B32F-B5E0E933678C}">
      <dgm:prSet/>
      <dgm:spPr>
        <a:solidFill>
          <a:srgbClr val="EDC30D"/>
        </a:solidFill>
      </dgm:spPr>
      <dgm:t>
        <a:bodyPr/>
        <a:lstStyle/>
        <a:p>
          <a:r>
            <a:rPr lang="en-US" baseline="0" dirty="0">
              <a:solidFill>
                <a:schemeClr val="tx1"/>
              </a:solidFill>
            </a:rPr>
            <a:t>Cloud</a:t>
          </a:r>
          <a:endParaRPr lang="en-GB" dirty="0">
            <a:solidFill>
              <a:schemeClr val="tx1"/>
            </a:solidFill>
          </a:endParaRPr>
        </a:p>
      </dgm:t>
    </dgm:pt>
    <dgm:pt modelId="{79AF086F-88DA-49F5-86D3-1F5481FED651}" type="parTrans" cxnId="{A891B08A-052E-4AF3-A09B-1520015F3526}">
      <dgm:prSet/>
      <dgm:spPr/>
      <dgm:t>
        <a:bodyPr/>
        <a:lstStyle/>
        <a:p>
          <a:endParaRPr lang="en-US"/>
        </a:p>
      </dgm:t>
    </dgm:pt>
    <dgm:pt modelId="{9680EFFC-479C-4258-AE83-BCC14469C9D3}" type="sibTrans" cxnId="{A891B08A-052E-4AF3-A09B-1520015F3526}">
      <dgm:prSet/>
      <dgm:spPr/>
      <dgm:t>
        <a:bodyPr/>
        <a:lstStyle/>
        <a:p>
          <a:endParaRPr lang="en-US"/>
        </a:p>
      </dgm:t>
    </dgm:pt>
    <dgm:pt modelId="{98DD8F22-E018-49A8-8200-C232B9919179}">
      <dgm:prSet/>
      <dgm:spPr>
        <a:solidFill>
          <a:srgbClr val="EDC30D"/>
        </a:solidFill>
      </dgm:spPr>
      <dgm:t>
        <a:bodyPr/>
        <a:lstStyle/>
        <a:p>
          <a:r>
            <a:rPr lang="en-US" baseline="0">
              <a:solidFill>
                <a:schemeClr val="tx1"/>
              </a:solidFill>
            </a:rPr>
            <a:t>Data Access</a:t>
          </a:r>
          <a:endParaRPr lang="en-GB">
            <a:solidFill>
              <a:schemeClr val="tx1"/>
            </a:solidFill>
          </a:endParaRPr>
        </a:p>
      </dgm:t>
    </dgm:pt>
    <dgm:pt modelId="{23AAD0B8-6377-4E25-9840-1E19B38F7EBE}" type="parTrans" cxnId="{BCD1EA49-D2E3-4135-9467-CE7C3479810F}">
      <dgm:prSet/>
      <dgm:spPr/>
      <dgm:t>
        <a:bodyPr/>
        <a:lstStyle/>
        <a:p>
          <a:endParaRPr lang="en-US"/>
        </a:p>
      </dgm:t>
    </dgm:pt>
    <dgm:pt modelId="{40B031A4-925D-465A-BC64-C47E998C7334}" type="sibTrans" cxnId="{BCD1EA49-D2E3-4135-9467-CE7C3479810F}">
      <dgm:prSet/>
      <dgm:spPr/>
      <dgm:t>
        <a:bodyPr/>
        <a:lstStyle/>
        <a:p>
          <a:endParaRPr lang="en-US"/>
        </a:p>
      </dgm:t>
    </dgm:pt>
    <dgm:pt modelId="{02CDDF87-99FD-41FE-B5E3-0CECAF4BCF45}">
      <dgm:prSet/>
      <dgm:spPr>
        <a:solidFill>
          <a:srgbClr val="EDC30D"/>
        </a:solidFill>
      </dgm:spPr>
      <dgm:t>
        <a:bodyPr/>
        <a:lstStyle/>
        <a:p>
          <a:r>
            <a:rPr lang="en-US" baseline="0">
              <a:solidFill>
                <a:schemeClr val="tx1"/>
              </a:solidFill>
            </a:rPr>
            <a:t>Sharing</a:t>
          </a:r>
          <a:endParaRPr lang="en-GB">
            <a:solidFill>
              <a:schemeClr val="tx1"/>
            </a:solidFill>
          </a:endParaRPr>
        </a:p>
      </dgm:t>
    </dgm:pt>
    <dgm:pt modelId="{5B651901-5667-44B9-BCDC-80803B122875}" type="parTrans" cxnId="{D777F415-5A78-411F-9627-93E603D32B08}">
      <dgm:prSet/>
      <dgm:spPr/>
      <dgm:t>
        <a:bodyPr/>
        <a:lstStyle/>
        <a:p>
          <a:endParaRPr lang="en-US"/>
        </a:p>
      </dgm:t>
    </dgm:pt>
    <dgm:pt modelId="{FD5A30EC-672A-42E5-A4E9-78B9CD2F73FD}" type="sibTrans" cxnId="{D777F415-5A78-411F-9627-93E603D32B08}">
      <dgm:prSet/>
      <dgm:spPr/>
      <dgm:t>
        <a:bodyPr/>
        <a:lstStyle/>
        <a:p>
          <a:endParaRPr lang="en-US"/>
        </a:p>
      </dgm:t>
    </dgm:pt>
    <dgm:pt modelId="{2A7F442F-C5C9-4D5B-9D3B-5D1C13AEC459}">
      <dgm:prSet/>
      <dgm:spPr>
        <a:solidFill>
          <a:srgbClr val="EDC30D"/>
        </a:solidFill>
      </dgm:spPr>
      <dgm:t>
        <a:bodyPr/>
        <a:lstStyle/>
        <a:p>
          <a:r>
            <a:rPr lang="en-US" baseline="0" dirty="0">
              <a:solidFill>
                <a:schemeClr val="tx1"/>
              </a:solidFill>
            </a:rPr>
            <a:t>Row-Level Security</a:t>
          </a:r>
          <a:endParaRPr lang="en-GB" dirty="0">
            <a:solidFill>
              <a:schemeClr val="tx1"/>
            </a:solidFill>
          </a:endParaRPr>
        </a:p>
      </dgm:t>
    </dgm:pt>
    <dgm:pt modelId="{8F93E8EE-2246-4795-BCD0-BC5C1CED47A1}" type="parTrans" cxnId="{231D0640-6F9B-4B08-ADF9-7EBC0226B82B}">
      <dgm:prSet/>
      <dgm:spPr/>
      <dgm:t>
        <a:bodyPr/>
        <a:lstStyle/>
        <a:p>
          <a:endParaRPr lang="en-US"/>
        </a:p>
      </dgm:t>
    </dgm:pt>
    <dgm:pt modelId="{B5C0A802-21BB-425C-B00C-BA658DB75968}" type="sibTrans" cxnId="{231D0640-6F9B-4B08-ADF9-7EBC0226B82B}">
      <dgm:prSet/>
      <dgm:spPr/>
      <dgm:t>
        <a:bodyPr/>
        <a:lstStyle/>
        <a:p>
          <a:endParaRPr lang="en-US"/>
        </a:p>
      </dgm:t>
    </dgm:pt>
    <dgm:pt modelId="{ECBFAD3E-4CC0-4DFE-8667-D6403B763FE8}">
      <dgm:prSet/>
      <dgm:spPr>
        <a:solidFill>
          <a:srgbClr val="EDC30D"/>
        </a:solidFill>
      </dgm:spPr>
      <dgm:t>
        <a:bodyPr/>
        <a:lstStyle/>
        <a:p>
          <a:r>
            <a:rPr lang="en-GB" dirty="0">
              <a:solidFill>
                <a:schemeClr val="tx1"/>
              </a:solidFill>
            </a:rPr>
            <a:t>Public</a:t>
          </a:r>
        </a:p>
      </dgm:t>
    </dgm:pt>
    <dgm:pt modelId="{C5F80E31-C579-4C2A-9FFE-1E33E5BF53DD}" type="parTrans" cxnId="{0918B509-F339-418A-810B-DDB73E92BB8F}">
      <dgm:prSet/>
      <dgm:spPr/>
      <dgm:t>
        <a:bodyPr/>
        <a:lstStyle/>
        <a:p>
          <a:endParaRPr lang="en-US"/>
        </a:p>
      </dgm:t>
    </dgm:pt>
    <dgm:pt modelId="{D69FAB63-DC24-4EBF-8FDC-6AA6668CFF7E}" type="sibTrans" cxnId="{0918B509-F339-418A-810B-DDB73E92BB8F}">
      <dgm:prSet/>
      <dgm:spPr/>
      <dgm:t>
        <a:bodyPr/>
        <a:lstStyle/>
        <a:p>
          <a:endParaRPr lang="en-US"/>
        </a:p>
      </dgm:t>
    </dgm:pt>
    <dgm:pt modelId="{1363C39E-132F-44FF-9F82-3EB8134AD84C}" type="pres">
      <dgm:prSet presAssocID="{54B536DF-88AC-448D-B540-7F766040127F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FE4C99D6-65BF-48DF-B04A-68EB7417A1B0}" type="pres">
      <dgm:prSet presAssocID="{9018C639-B15B-4ECF-9E83-173C32DF5BB7}" presName="hierRoot1" presStyleCnt="0">
        <dgm:presLayoutVars>
          <dgm:hierBranch val="init"/>
        </dgm:presLayoutVars>
      </dgm:prSet>
      <dgm:spPr/>
    </dgm:pt>
    <dgm:pt modelId="{2712F7D2-D78C-4A52-A407-4516BAF4561D}" type="pres">
      <dgm:prSet presAssocID="{9018C639-B15B-4ECF-9E83-173C32DF5BB7}" presName="rootComposite1" presStyleCnt="0"/>
      <dgm:spPr/>
    </dgm:pt>
    <dgm:pt modelId="{10B685FD-79F8-49D8-B895-E2380080227F}" type="pres">
      <dgm:prSet presAssocID="{9018C639-B15B-4ECF-9E83-173C32DF5BB7}" presName="rootText1" presStyleLbl="node0" presStyleIdx="0" presStyleCnt="2">
        <dgm:presLayoutVars>
          <dgm:chPref val="3"/>
        </dgm:presLayoutVars>
      </dgm:prSet>
      <dgm:spPr/>
    </dgm:pt>
    <dgm:pt modelId="{F901269B-131C-4B8B-8A5C-1A38CEB625BB}" type="pres">
      <dgm:prSet presAssocID="{9018C639-B15B-4ECF-9E83-173C32DF5BB7}" presName="rootConnector1" presStyleLbl="node1" presStyleIdx="0" presStyleCnt="0"/>
      <dgm:spPr/>
    </dgm:pt>
    <dgm:pt modelId="{D3896F1F-A879-4D26-A937-B6BD3CF93672}" type="pres">
      <dgm:prSet presAssocID="{9018C639-B15B-4ECF-9E83-173C32DF5BB7}" presName="hierChild2" presStyleCnt="0"/>
      <dgm:spPr/>
    </dgm:pt>
    <dgm:pt modelId="{D33BB0EA-F195-438F-8A00-24E5C8226EA3}" type="pres">
      <dgm:prSet presAssocID="{4FE4810C-569E-4D3D-9DCC-5469C4726500}" presName="Name64" presStyleLbl="parChTrans1D2" presStyleIdx="0" presStyleCnt="5"/>
      <dgm:spPr/>
    </dgm:pt>
    <dgm:pt modelId="{75679D68-C971-4953-8DBE-59CC76684E30}" type="pres">
      <dgm:prSet presAssocID="{D286143D-BDC1-499D-885B-6D79F1C29B05}" presName="hierRoot2" presStyleCnt="0">
        <dgm:presLayoutVars>
          <dgm:hierBranch val="init"/>
        </dgm:presLayoutVars>
      </dgm:prSet>
      <dgm:spPr/>
    </dgm:pt>
    <dgm:pt modelId="{FEB0C5A7-694E-4F1E-892B-56EDBAA81AB7}" type="pres">
      <dgm:prSet presAssocID="{D286143D-BDC1-499D-885B-6D79F1C29B05}" presName="rootComposite" presStyleCnt="0"/>
      <dgm:spPr/>
    </dgm:pt>
    <dgm:pt modelId="{83A068E7-16B4-4313-9BD7-86F2CC6ED717}" type="pres">
      <dgm:prSet presAssocID="{D286143D-BDC1-499D-885B-6D79F1C29B05}" presName="rootText" presStyleLbl="node2" presStyleIdx="0" presStyleCnt="5">
        <dgm:presLayoutVars>
          <dgm:chPref val="3"/>
        </dgm:presLayoutVars>
      </dgm:prSet>
      <dgm:spPr/>
    </dgm:pt>
    <dgm:pt modelId="{A6480A6F-B9F2-41EE-AF4B-E34F34808E52}" type="pres">
      <dgm:prSet presAssocID="{D286143D-BDC1-499D-885B-6D79F1C29B05}" presName="rootConnector" presStyleLbl="node2" presStyleIdx="0" presStyleCnt="5"/>
      <dgm:spPr/>
    </dgm:pt>
    <dgm:pt modelId="{3B1511B9-2CB6-4EE5-A072-C412CA5E1460}" type="pres">
      <dgm:prSet presAssocID="{D286143D-BDC1-499D-885B-6D79F1C29B05}" presName="hierChild4" presStyleCnt="0"/>
      <dgm:spPr/>
    </dgm:pt>
    <dgm:pt modelId="{3DC5C3BA-4BA4-4B23-9164-FE3A9D3B6DC8}" type="pres">
      <dgm:prSet presAssocID="{D286143D-BDC1-499D-885B-6D79F1C29B05}" presName="hierChild5" presStyleCnt="0"/>
      <dgm:spPr/>
    </dgm:pt>
    <dgm:pt modelId="{501FCC22-A997-4163-86D1-18CF96D2C847}" type="pres">
      <dgm:prSet presAssocID="{79AF086F-88DA-49F5-86D3-1F5481FED651}" presName="Name64" presStyleLbl="parChTrans1D2" presStyleIdx="1" presStyleCnt="5"/>
      <dgm:spPr/>
    </dgm:pt>
    <dgm:pt modelId="{73DC2737-AE28-4599-BF47-8A413BD88520}" type="pres">
      <dgm:prSet presAssocID="{D986FB5D-0CA7-4649-B32F-B5E0E933678C}" presName="hierRoot2" presStyleCnt="0">
        <dgm:presLayoutVars>
          <dgm:hierBranch val="init"/>
        </dgm:presLayoutVars>
      </dgm:prSet>
      <dgm:spPr/>
    </dgm:pt>
    <dgm:pt modelId="{67A19D61-B496-4CCB-B6FD-094B27937291}" type="pres">
      <dgm:prSet presAssocID="{D986FB5D-0CA7-4649-B32F-B5E0E933678C}" presName="rootComposite" presStyleCnt="0"/>
      <dgm:spPr/>
    </dgm:pt>
    <dgm:pt modelId="{808B666D-E5F6-46A6-9724-A881F7C0FFFF}" type="pres">
      <dgm:prSet presAssocID="{D986FB5D-0CA7-4649-B32F-B5E0E933678C}" presName="rootText" presStyleLbl="node2" presStyleIdx="1" presStyleCnt="5">
        <dgm:presLayoutVars>
          <dgm:chPref val="3"/>
        </dgm:presLayoutVars>
      </dgm:prSet>
      <dgm:spPr/>
    </dgm:pt>
    <dgm:pt modelId="{2C41F697-0E28-482E-AA48-4CE8F1252801}" type="pres">
      <dgm:prSet presAssocID="{D986FB5D-0CA7-4649-B32F-B5E0E933678C}" presName="rootConnector" presStyleLbl="node2" presStyleIdx="1" presStyleCnt="5"/>
      <dgm:spPr/>
    </dgm:pt>
    <dgm:pt modelId="{516FE777-892C-4934-BD88-8A7C99F99675}" type="pres">
      <dgm:prSet presAssocID="{D986FB5D-0CA7-4649-B32F-B5E0E933678C}" presName="hierChild4" presStyleCnt="0"/>
      <dgm:spPr/>
    </dgm:pt>
    <dgm:pt modelId="{9391B30D-6099-4F7D-931E-5CA5E50A3576}" type="pres">
      <dgm:prSet presAssocID="{D986FB5D-0CA7-4649-B32F-B5E0E933678C}" presName="hierChild5" presStyleCnt="0"/>
      <dgm:spPr/>
    </dgm:pt>
    <dgm:pt modelId="{3FB5198A-F36E-40C3-9614-823EDC5B678C}" type="pres">
      <dgm:prSet presAssocID="{9018C639-B15B-4ECF-9E83-173C32DF5BB7}" presName="hierChild3" presStyleCnt="0"/>
      <dgm:spPr/>
    </dgm:pt>
    <dgm:pt modelId="{F358C963-5BE0-455B-949E-74397151E2C2}" type="pres">
      <dgm:prSet presAssocID="{98DD8F22-E018-49A8-8200-C232B9919179}" presName="hierRoot1" presStyleCnt="0">
        <dgm:presLayoutVars>
          <dgm:hierBranch val="init"/>
        </dgm:presLayoutVars>
      </dgm:prSet>
      <dgm:spPr/>
    </dgm:pt>
    <dgm:pt modelId="{6C3F996A-64B7-4D11-A5A7-2B626E9DBC61}" type="pres">
      <dgm:prSet presAssocID="{98DD8F22-E018-49A8-8200-C232B9919179}" presName="rootComposite1" presStyleCnt="0"/>
      <dgm:spPr/>
    </dgm:pt>
    <dgm:pt modelId="{16BDD1B1-6573-49A9-B5D7-5900380DA9FE}" type="pres">
      <dgm:prSet presAssocID="{98DD8F22-E018-49A8-8200-C232B9919179}" presName="rootText1" presStyleLbl="node0" presStyleIdx="1" presStyleCnt="2">
        <dgm:presLayoutVars>
          <dgm:chPref val="3"/>
        </dgm:presLayoutVars>
      </dgm:prSet>
      <dgm:spPr/>
    </dgm:pt>
    <dgm:pt modelId="{64294F2E-0A55-4FF7-B70A-76D6ADF390AD}" type="pres">
      <dgm:prSet presAssocID="{98DD8F22-E018-49A8-8200-C232B9919179}" presName="rootConnector1" presStyleLbl="node1" presStyleIdx="0" presStyleCnt="0"/>
      <dgm:spPr/>
    </dgm:pt>
    <dgm:pt modelId="{7BEC5FF6-C856-4846-A476-DB98A7D46425}" type="pres">
      <dgm:prSet presAssocID="{98DD8F22-E018-49A8-8200-C232B9919179}" presName="hierChild2" presStyleCnt="0"/>
      <dgm:spPr/>
    </dgm:pt>
    <dgm:pt modelId="{B8DEA176-23F1-49DC-93D7-61E1A4F2D62C}" type="pres">
      <dgm:prSet presAssocID="{5B651901-5667-44B9-BCDC-80803B122875}" presName="Name64" presStyleLbl="parChTrans1D2" presStyleIdx="2" presStyleCnt="5"/>
      <dgm:spPr/>
    </dgm:pt>
    <dgm:pt modelId="{75741D26-983A-435B-9AC3-79193AC24B67}" type="pres">
      <dgm:prSet presAssocID="{02CDDF87-99FD-41FE-B5E3-0CECAF4BCF45}" presName="hierRoot2" presStyleCnt="0">
        <dgm:presLayoutVars>
          <dgm:hierBranch val="init"/>
        </dgm:presLayoutVars>
      </dgm:prSet>
      <dgm:spPr/>
    </dgm:pt>
    <dgm:pt modelId="{47C358C8-81AD-47F5-BA32-856AC58481B2}" type="pres">
      <dgm:prSet presAssocID="{02CDDF87-99FD-41FE-B5E3-0CECAF4BCF45}" presName="rootComposite" presStyleCnt="0"/>
      <dgm:spPr/>
    </dgm:pt>
    <dgm:pt modelId="{30F0C7C1-13E3-42E2-8FFB-DF4C270C725C}" type="pres">
      <dgm:prSet presAssocID="{02CDDF87-99FD-41FE-B5E3-0CECAF4BCF45}" presName="rootText" presStyleLbl="node2" presStyleIdx="2" presStyleCnt="5">
        <dgm:presLayoutVars>
          <dgm:chPref val="3"/>
        </dgm:presLayoutVars>
      </dgm:prSet>
      <dgm:spPr/>
    </dgm:pt>
    <dgm:pt modelId="{E2102E85-3A96-4B9A-ADF6-E44568DBE505}" type="pres">
      <dgm:prSet presAssocID="{02CDDF87-99FD-41FE-B5E3-0CECAF4BCF45}" presName="rootConnector" presStyleLbl="node2" presStyleIdx="2" presStyleCnt="5"/>
      <dgm:spPr/>
    </dgm:pt>
    <dgm:pt modelId="{28BA4C30-E545-46E1-8342-DBE51F874F7B}" type="pres">
      <dgm:prSet presAssocID="{02CDDF87-99FD-41FE-B5E3-0CECAF4BCF45}" presName="hierChild4" presStyleCnt="0"/>
      <dgm:spPr/>
    </dgm:pt>
    <dgm:pt modelId="{4E006D7C-311F-40A1-8CF9-C16B2E4C1368}" type="pres">
      <dgm:prSet presAssocID="{02CDDF87-99FD-41FE-B5E3-0CECAF4BCF45}" presName="hierChild5" presStyleCnt="0"/>
      <dgm:spPr/>
    </dgm:pt>
    <dgm:pt modelId="{38CAB2FC-CDD3-4A35-A221-9A549B4B8A33}" type="pres">
      <dgm:prSet presAssocID="{8F93E8EE-2246-4795-BCD0-BC5C1CED47A1}" presName="Name64" presStyleLbl="parChTrans1D2" presStyleIdx="3" presStyleCnt="5"/>
      <dgm:spPr/>
    </dgm:pt>
    <dgm:pt modelId="{FF5D2CCD-1E7D-4B64-B325-D5829E55109C}" type="pres">
      <dgm:prSet presAssocID="{2A7F442F-C5C9-4D5B-9D3B-5D1C13AEC459}" presName="hierRoot2" presStyleCnt="0">
        <dgm:presLayoutVars>
          <dgm:hierBranch val="init"/>
        </dgm:presLayoutVars>
      </dgm:prSet>
      <dgm:spPr/>
    </dgm:pt>
    <dgm:pt modelId="{0654D5FE-0349-4776-A15E-F58FDDE363B8}" type="pres">
      <dgm:prSet presAssocID="{2A7F442F-C5C9-4D5B-9D3B-5D1C13AEC459}" presName="rootComposite" presStyleCnt="0"/>
      <dgm:spPr/>
    </dgm:pt>
    <dgm:pt modelId="{1EADD7DE-598F-474D-8DE1-B38E166EFCE4}" type="pres">
      <dgm:prSet presAssocID="{2A7F442F-C5C9-4D5B-9D3B-5D1C13AEC459}" presName="rootText" presStyleLbl="node2" presStyleIdx="3" presStyleCnt="5">
        <dgm:presLayoutVars>
          <dgm:chPref val="3"/>
        </dgm:presLayoutVars>
      </dgm:prSet>
      <dgm:spPr/>
    </dgm:pt>
    <dgm:pt modelId="{BDE4A4FF-134F-4B07-9A39-8219F99B66D2}" type="pres">
      <dgm:prSet presAssocID="{2A7F442F-C5C9-4D5B-9D3B-5D1C13AEC459}" presName="rootConnector" presStyleLbl="node2" presStyleIdx="3" presStyleCnt="5"/>
      <dgm:spPr/>
    </dgm:pt>
    <dgm:pt modelId="{FE7F874B-5677-4740-8EE2-C4117C1D5D5F}" type="pres">
      <dgm:prSet presAssocID="{2A7F442F-C5C9-4D5B-9D3B-5D1C13AEC459}" presName="hierChild4" presStyleCnt="0"/>
      <dgm:spPr/>
    </dgm:pt>
    <dgm:pt modelId="{A801AF83-E4AA-40B2-BD76-3DA93FAE1075}" type="pres">
      <dgm:prSet presAssocID="{2A7F442F-C5C9-4D5B-9D3B-5D1C13AEC459}" presName="hierChild5" presStyleCnt="0"/>
      <dgm:spPr/>
    </dgm:pt>
    <dgm:pt modelId="{B0587C9F-B446-4D5B-8CAF-5E2324A6DE5C}" type="pres">
      <dgm:prSet presAssocID="{C5F80E31-C579-4C2A-9FFE-1E33E5BF53DD}" presName="Name64" presStyleLbl="parChTrans1D2" presStyleIdx="4" presStyleCnt="5"/>
      <dgm:spPr/>
    </dgm:pt>
    <dgm:pt modelId="{6521518A-043E-4A34-933C-F4ECCCD10F9E}" type="pres">
      <dgm:prSet presAssocID="{ECBFAD3E-4CC0-4DFE-8667-D6403B763FE8}" presName="hierRoot2" presStyleCnt="0">
        <dgm:presLayoutVars>
          <dgm:hierBranch val="init"/>
        </dgm:presLayoutVars>
      </dgm:prSet>
      <dgm:spPr/>
    </dgm:pt>
    <dgm:pt modelId="{50F13299-1CEA-4B4B-AE48-F97E1FF6E556}" type="pres">
      <dgm:prSet presAssocID="{ECBFAD3E-4CC0-4DFE-8667-D6403B763FE8}" presName="rootComposite" presStyleCnt="0"/>
      <dgm:spPr/>
    </dgm:pt>
    <dgm:pt modelId="{8E5C6820-90B3-4DDB-AD4C-95FBE90236CE}" type="pres">
      <dgm:prSet presAssocID="{ECBFAD3E-4CC0-4DFE-8667-D6403B763FE8}" presName="rootText" presStyleLbl="node2" presStyleIdx="4" presStyleCnt="5">
        <dgm:presLayoutVars>
          <dgm:chPref val="3"/>
        </dgm:presLayoutVars>
      </dgm:prSet>
      <dgm:spPr/>
    </dgm:pt>
    <dgm:pt modelId="{52E70FDB-384C-4ADD-A33D-C28E189EB912}" type="pres">
      <dgm:prSet presAssocID="{ECBFAD3E-4CC0-4DFE-8667-D6403B763FE8}" presName="rootConnector" presStyleLbl="node2" presStyleIdx="4" presStyleCnt="5"/>
      <dgm:spPr/>
    </dgm:pt>
    <dgm:pt modelId="{FCD922E9-F015-4453-9EC5-395836D9B670}" type="pres">
      <dgm:prSet presAssocID="{ECBFAD3E-4CC0-4DFE-8667-D6403B763FE8}" presName="hierChild4" presStyleCnt="0"/>
      <dgm:spPr/>
    </dgm:pt>
    <dgm:pt modelId="{FC55A75F-D58E-4C6E-BEE7-F07E52A1D071}" type="pres">
      <dgm:prSet presAssocID="{ECBFAD3E-4CC0-4DFE-8667-D6403B763FE8}" presName="hierChild5" presStyleCnt="0"/>
      <dgm:spPr/>
    </dgm:pt>
    <dgm:pt modelId="{94CD9E86-7D3C-4C22-B9AF-4795860EAE86}" type="pres">
      <dgm:prSet presAssocID="{98DD8F22-E018-49A8-8200-C232B9919179}" presName="hierChild3" presStyleCnt="0"/>
      <dgm:spPr/>
    </dgm:pt>
  </dgm:ptLst>
  <dgm:cxnLst>
    <dgm:cxn modelId="{47052E07-42ED-4A58-BDDB-587A7F93C4A0}" type="presOf" srcId="{2A7F442F-C5C9-4D5B-9D3B-5D1C13AEC459}" destId="{BDE4A4FF-134F-4B07-9A39-8219F99B66D2}" srcOrd="1" destOrd="0" presId="urn:microsoft.com/office/officeart/2009/3/layout/HorizontalOrganizationChart"/>
    <dgm:cxn modelId="{0918B509-F339-418A-810B-DDB73E92BB8F}" srcId="{98DD8F22-E018-49A8-8200-C232B9919179}" destId="{ECBFAD3E-4CC0-4DFE-8667-D6403B763FE8}" srcOrd="2" destOrd="0" parTransId="{C5F80E31-C579-4C2A-9FFE-1E33E5BF53DD}" sibTransId="{D69FAB63-DC24-4EBF-8FDC-6AA6668CFF7E}"/>
    <dgm:cxn modelId="{861B1A0B-303F-4742-9767-D679BF7E4174}" type="presOf" srcId="{02CDDF87-99FD-41FE-B5E3-0CECAF4BCF45}" destId="{E2102E85-3A96-4B9A-ADF6-E44568DBE505}" srcOrd="1" destOrd="0" presId="urn:microsoft.com/office/officeart/2009/3/layout/HorizontalOrganizationChart"/>
    <dgm:cxn modelId="{7F14CD13-8448-4837-8681-6E004446E808}" type="presOf" srcId="{5B651901-5667-44B9-BCDC-80803B122875}" destId="{B8DEA176-23F1-49DC-93D7-61E1A4F2D62C}" srcOrd="0" destOrd="0" presId="urn:microsoft.com/office/officeart/2009/3/layout/HorizontalOrganizationChart"/>
    <dgm:cxn modelId="{D777F415-5A78-411F-9627-93E603D32B08}" srcId="{98DD8F22-E018-49A8-8200-C232B9919179}" destId="{02CDDF87-99FD-41FE-B5E3-0CECAF4BCF45}" srcOrd="0" destOrd="0" parTransId="{5B651901-5667-44B9-BCDC-80803B122875}" sibTransId="{FD5A30EC-672A-42E5-A4E9-78B9CD2F73FD}"/>
    <dgm:cxn modelId="{4AD5D91D-1CCB-44FD-B5D0-E93F2F624FE4}" type="presOf" srcId="{98DD8F22-E018-49A8-8200-C232B9919179}" destId="{16BDD1B1-6573-49A9-B5D7-5900380DA9FE}" srcOrd="0" destOrd="0" presId="urn:microsoft.com/office/officeart/2009/3/layout/HorizontalOrganizationChart"/>
    <dgm:cxn modelId="{BDA5D81E-D8A2-4135-93DA-D88024CAC265}" type="presOf" srcId="{54B536DF-88AC-448D-B540-7F766040127F}" destId="{1363C39E-132F-44FF-9F82-3EB8134AD84C}" srcOrd="0" destOrd="0" presId="urn:microsoft.com/office/officeart/2009/3/layout/HorizontalOrganizationChart"/>
    <dgm:cxn modelId="{4A511D28-F3B9-4E5C-8506-92638D8D5EC0}" type="presOf" srcId="{9018C639-B15B-4ECF-9E83-173C32DF5BB7}" destId="{10B685FD-79F8-49D8-B895-E2380080227F}" srcOrd="0" destOrd="0" presId="urn:microsoft.com/office/officeart/2009/3/layout/HorizontalOrganizationChart"/>
    <dgm:cxn modelId="{FCB73433-2B28-4194-9BB0-D2CE51054184}" type="presOf" srcId="{4FE4810C-569E-4D3D-9DCC-5469C4726500}" destId="{D33BB0EA-F195-438F-8A00-24E5C8226EA3}" srcOrd="0" destOrd="0" presId="urn:microsoft.com/office/officeart/2009/3/layout/HorizontalOrganizationChart"/>
    <dgm:cxn modelId="{C3587C3A-D855-4B93-BF19-85DFE0DB642C}" type="presOf" srcId="{8F93E8EE-2246-4795-BCD0-BC5C1CED47A1}" destId="{38CAB2FC-CDD3-4A35-A221-9A549B4B8A33}" srcOrd="0" destOrd="0" presId="urn:microsoft.com/office/officeart/2009/3/layout/HorizontalOrganizationChart"/>
    <dgm:cxn modelId="{0433943D-07BC-48B0-A197-02456C0FFBC0}" type="presOf" srcId="{C5F80E31-C579-4C2A-9FFE-1E33E5BF53DD}" destId="{B0587C9F-B446-4D5B-8CAF-5E2324A6DE5C}" srcOrd="0" destOrd="0" presId="urn:microsoft.com/office/officeart/2009/3/layout/HorizontalOrganizationChart"/>
    <dgm:cxn modelId="{231D0640-6F9B-4B08-ADF9-7EBC0226B82B}" srcId="{98DD8F22-E018-49A8-8200-C232B9919179}" destId="{2A7F442F-C5C9-4D5B-9D3B-5D1C13AEC459}" srcOrd="1" destOrd="0" parTransId="{8F93E8EE-2246-4795-BCD0-BC5C1CED47A1}" sibTransId="{B5C0A802-21BB-425C-B00C-BA658DB75968}"/>
    <dgm:cxn modelId="{BCD1EA49-D2E3-4135-9467-CE7C3479810F}" srcId="{54B536DF-88AC-448D-B540-7F766040127F}" destId="{98DD8F22-E018-49A8-8200-C232B9919179}" srcOrd="1" destOrd="0" parTransId="{23AAD0B8-6377-4E25-9840-1E19B38F7EBE}" sibTransId="{40B031A4-925D-465A-BC64-C47E998C7334}"/>
    <dgm:cxn modelId="{7EABE458-4B05-494E-8686-61FB61CFD66F}" type="presOf" srcId="{02CDDF87-99FD-41FE-B5E3-0CECAF4BCF45}" destId="{30F0C7C1-13E3-42E2-8FFB-DF4C270C725C}" srcOrd="0" destOrd="0" presId="urn:microsoft.com/office/officeart/2009/3/layout/HorizontalOrganizationChart"/>
    <dgm:cxn modelId="{1104A579-78C3-4526-90DB-18B6B8242756}" type="presOf" srcId="{ECBFAD3E-4CC0-4DFE-8667-D6403B763FE8}" destId="{52E70FDB-384C-4ADD-A33D-C28E189EB912}" srcOrd="1" destOrd="0" presId="urn:microsoft.com/office/officeart/2009/3/layout/HorizontalOrganizationChart"/>
    <dgm:cxn modelId="{32C5F25A-A474-478F-B156-867731C4A4B5}" type="presOf" srcId="{98DD8F22-E018-49A8-8200-C232B9919179}" destId="{64294F2E-0A55-4FF7-B70A-76D6ADF390AD}" srcOrd="1" destOrd="0" presId="urn:microsoft.com/office/officeart/2009/3/layout/HorizontalOrganizationChart"/>
    <dgm:cxn modelId="{F3781280-3761-4F1F-9491-FF8A2EA5EC9C}" type="presOf" srcId="{D286143D-BDC1-499D-885B-6D79F1C29B05}" destId="{83A068E7-16B4-4313-9BD7-86F2CC6ED717}" srcOrd="0" destOrd="0" presId="urn:microsoft.com/office/officeart/2009/3/layout/HorizontalOrganizationChart"/>
    <dgm:cxn modelId="{A891B08A-052E-4AF3-A09B-1520015F3526}" srcId="{9018C639-B15B-4ECF-9E83-173C32DF5BB7}" destId="{D986FB5D-0CA7-4649-B32F-B5E0E933678C}" srcOrd="1" destOrd="0" parTransId="{79AF086F-88DA-49F5-86D3-1F5481FED651}" sibTransId="{9680EFFC-479C-4258-AE83-BCC14469C9D3}"/>
    <dgm:cxn modelId="{7E08D08F-C0F9-417B-8132-83B45B41F630}" srcId="{54B536DF-88AC-448D-B540-7F766040127F}" destId="{9018C639-B15B-4ECF-9E83-173C32DF5BB7}" srcOrd="0" destOrd="0" parTransId="{B4EC6EBF-21C2-480E-87B2-7F1A073B6359}" sibTransId="{4E855D6E-212E-406F-9D3B-844BE56C2D9A}"/>
    <dgm:cxn modelId="{ECC8F599-9FC0-4A9F-A986-2AD79CAA0521}" type="presOf" srcId="{D986FB5D-0CA7-4649-B32F-B5E0E933678C}" destId="{808B666D-E5F6-46A6-9724-A881F7C0FFFF}" srcOrd="0" destOrd="0" presId="urn:microsoft.com/office/officeart/2009/3/layout/HorizontalOrganizationChart"/>
    <dgm:cxn modelId="{90ECF5A4-17DA-4854-ADA9-3FD14EA73AC6}" type="presOf" srcId="{79AF086F-88DA-49F5-86D3-1F5481FED651}" destId="{501FCC22-A997-4163-86D1-18CF96D2C847}" srcOrd="0" destOrd="0" presId="urn:microsoft.com/office/officeart/2009/3/layout/HorizontalOrganizationChart"/>
    <dgm:cxn modelId="{2079EAA9-2BC6-4044-AB0C-77E5E63E8028}" type="presOf" srcId="{2A7F442F-C5C9-4D5B-9D3B-5D1C13AEC459}" destId="{1EADD7DE-598F-474D-8DE1-B38E166EFCE4}" srcOrd="0" destOrd="0" presId="urn:microsoft.com/office/officeart/2009/3/layout/HorizontalOrganizationChart"/>
    <dgm:cxn modelId="{32B858B2-4930-4243-A6E4-17F4579F2AE2}" srcId="{9018C639-B15B-4ECF-9E83-173C32DF5BB7}" destId="{D286143D-BDC1-499D-885B-6D79F1C29B05}" srcOrd="0" destOrd="0" parTransId="{4FE4810C-569E-4D3D-9DCC-5469C4726500}" sibTransId="{18485489-1EC0-4AD0-B01F-90A2A7581FA1}"/>
    <dgm:cxn modelId="{10C405C8-009B-43C4-A3C8-A92D6D4E98CF}" type="presOf" srcId="{ECBFAD3E-4CC0-4DFE-8667-D6403B763FE8}" destId="{8E5C6820-90B3-4DDB-AD4C-95FBE90236CE}" srcOrd="0" destOrd="0" presId="urn:microsoft.com/office/officeart/2009/3/layout/HorizontalOrganizationChart"/>
    <dgm:cxn modelId="{46E0F0D3-4482-4223-BC6D-87E35DB33BA4}" type="presOf" srcId="{D986FB5D-0CA7-4649-B32F-B5E0E933678C}" destId="{2C41F697-0E28-482E-AA48-4CE8F1252801}" srcOrd="1" destOrd="0" presId="urn:microsoft.com/office/officeart/2009/3/layout/HorizontalOrganizationChart"/>
    <dgm:cxn modelId="{048D48DB-9E44-4545-897E-28702C0E184F}" type="presOf" srcId="{D286143D-BDC1-499D-885B-6D79F1C29B05}" destId="{A6480A6F-B9F2-41EE-AF4B-E34F34808E52}" srcOrd="1" destOrd="0" presId="urn:microsoft.com/office/officeart/2009/3/layout/HorizontalOrganizationChart"/>
    <dgm:cxn modelId="{9CFFEBDD-A97F-4725-8E34-1D3BF03F80C1}" type="presOf" srcId="{9018C639-B15B-4ECF-9E83-173C32DF5BB7}" destId="{F901269B-131C-4B8B-8A5C-1A38CEB625BB}" srcOrd="1" destOrd="0" presId="urn:microsoft.com/office/officeart/2009/3/layout/HorizontalOrganizationChart"/>
    <dgm:cxn modelId="{39FB46A7-F5F2-440D-B78D-549A3DA33BCC}" type="presParOf" srcId="{1363C39E-132F-44FF-9F82-3EB8134AD84C}" destId="{FE4C99D6-65BF-48DF-B04A-68EB7417A1B0}" srcOrd="0" destOrd="0" presId="urn:microsoft.com/office/officeart/2009/3/layout/HorizontalOrganizationChart"/>
    <dgm:cxn modelId="{DEAA98D4-A1DC-4864-A1DB-2AC20E7407D9}" type="presParOf" srcId="{FE4C99D6-65BF-48DF-B04A-68EB7417A1B0}" destId="{2712F7D2-D78C-4A52-A407-4516BAF4561D}" srcOrd="0" destOrd="0" presId="urn:microsoft.com/office/officeart/2009/3/layout/HorizontalOrganizationChart"/>
    <dgm:cxn modelId="{B7029028-C309-45A4-86E7-3C73BF92C1B4}" type="presParOf" srcId="{2712F7D2-D78C-4A52-A407-4516BAF4561D}" destId="{10B685FD-79F8-49D8-B895-E2380080227F}" srcOrd="0" destOrd="0" presId="urn:microsoft.com/office/officeart/2009/3/layout/HorizontalOrganizationChart"/>
    <dgm:cxn modelId="{74147E6B-921D-444C-B57B-F301FF6EDB67}" type="presParOf" srcId="{2712F7D2-D78C-4A52-A407-4516BAF4561D}" destId="{F901269B-131C-4B8B-8A5C-1A38CEB625BB}" srcOrd="1" destOrd="0" presId="urn:microsoft.com/office/officeart/2009/3/layout/HorizontalOrganizationChart"/>
    <dgm:cxn modelId="{D5D86390-4CB6-4BB1-A96F-10C6430CF7CD}" type="presParOf" srcId="{FE4C99D6-65BF-48DF-B04A-68EB7417A1B0}" destId="{D3896F1F-A879-4D26-A937-B6BD3CF93672}" srcOrd="1" destOrd="0" presId="urn:microsoft.com/office/officeart/2009/3/layout/HorizontalOrganizationChart"/>
    <dgm:cxn modelId="{41052341-BAE4-479E-8EA3-D101E9C426B5}" type="presParOf" srcId="{D3896F1F-A879-4D26-A937-B6BD3CF93672}" destId="{D33BB0EA-F195-438F-8A00-24E5C8226EA3}" srcOrd="0" destOrd="0" presId="urn:microsoft.com/office/officeart/2009/3/layout/HorizontalOrganizationChart"/>
    <dgm:cxn modelId="{2CE43E30-C6CB-4852-9BE3-2A881C6B38B3}" type="presParOf" srcId="{D3896F1F-A879-4D26-A937-B6BD3CF93672}" destId="{75679D68-C971-4953-8DBE-59CC76684E30}" srcOrd="1" destOrd="0" presId="urn:microsoft.com/office/officeart/2009/3/layout/HorizontalOrganizationChart"/>
    <dgm:cxn modelId="{264D18BA-F43E-4500-982F-B7355FDCE074}" type="presParOf" srcId="{75679D68-C971-4953-8DBE-59CC76684E30}" destId="{FEB0C5A7-694E-4F1E-892B-56EDBAA81AB7}" srcOrd="0" destOrd="0" presId="urn:microsoft.com/office/officeart/2009/3/layout/HorizontalOrganizationChart"/>
    <dgm:cxn modelId="{64A017D5-F549-4EBC-B307-294976C97194}" type="presParOf" srcId="{FEB0C5A7-694E-4F1E-892B-56EDBAA81AB7}" destId="{83A068E7-16B4-4313-9BD7-86F2CC6ED717}" srcOrd="0" destOrd="0" presId="urn:microsoft.com/office/officeart/2009/3/layout/HorizontalOrganizationChart"/>
    <dgm:cxn modelId="{4E7512E0-3F1F-402B-9CED-0F934E58E3AF}" type="presParOf" srcId="{FEB0C5A7-694E-4F1E-892B-56EDBAA81AB7}" destId="{A6480A6F-B9F2-41EE-AF4B-E34F34808E52}" srcOrd="1" destOrd="0" presId="urn:microsoft.com/office/officeart/2009/3/layout/HorizontalOrganizationChart"/>
    <dgm:cxn modelId="{ADDD7AEB-DE67-4AF7-81D2-6ADB471E1AB0}" type="presParOf" srcId="{75679D68-C971-4953-8DBE-59CC76684E30}" destId="{3B1511B9-2CB6-4EE5-A072-C412CA5E1460}" srcOrd="1" destOrd="0" presId="urn:microsoft.com/office/officeart/2009/3/layout/HorizontalOrganizationChart"/>
    <dgm:cxn modelId="{A5E97885-9434-4CFE-B5BD-5C6A4C7F942B}" type="presParOf" srcId="{75679D68-C971-4953-8DBE-59CC76684E30}" destId="{3DC5C3BA-4BA4-4B23-9164-FE3A9D3B6DC8}" srcOrd="2" destOrd="0" presId="urn:microsoft.com/office/officeart/2009/3/layout/HorizontalOrganizationChart"/>
    <dgm:cxn modelId="{62A9E393-FDC5-4F50-A527-82A512120756}" type="presParOf" srcId="{D3896F1F-A879-4D26-A937-B6BD3CF93672}" destId="{501FCC22-A997-4163-86D1-18CF96D2C847}" srcOrd="2" destOrd="0" presId="urn:microsoft.com/office/officeart/2009/3/layout/HorizontalOrganizationChart"/>
    <dgm:cxn modelId="{6F22BCC9-036F-4989-B200-A3A925C25A48}" type="presParOf" srcId="{D3896F1F-A879-4D26-A937-B6BD3CF93672}" destId="{73DC2737-AE28-4599-BF47-8A413BD88520}" srcOrd="3" destOrd="0" presId="urn:microsoft.com/office/officeart/2009/3/layout/HorizontalOrganizationChart"/>
    <dgm:cxn modelId="{AED4EE52-86F0-4465-9633-007F0A171E12}" type="presParOf" srcId="{73DC2737-AE28-4599-BF47-8A413BD88520}" destId="{67A19D61-B496-4CCB-B6FD-094B27937291}" srcOrd="0" destOrd="0" presId="urn:microsoft.com/office/officeart/2009/3/layout/HorizontalOrganizationChart"/>
    <dgm:cxn modelId="{C70E4719-5935-408F-8C57-D4642DEA0B6D}" type="presParOf" srcId="{67A19D61-B496-4CCB-B6FD-094B27937291}" destId="{808B666D-E5F6-46A6-9724-A881F7C0FFFF}" srcOrd="0" destOrd="0" presId="urn:microsoft.com/office/officeart/2009/3/layout/HorizontalOrganizationChart"/>
    <dgm:cxn modelId="{8392755B-C5A6-431D-8C62-369A4C09D954}" type="presParOf" srcId="{67A19D61-B496-4CCB-B6FD-094B27937291}" destId="{2C41F697-0E28-482E-AA48-4CE8F1252801}" srcOrd="1" destOrd="0" presId="urn:microsoft.com/office/officeart/2009/3/layout/HorizontalOrganizationChart"/>
    <dgm:cxn modelId="{0B641C22-F483-484A-B0A7-3913493AC680}" type="presParOf" srcId="{73DC2737-AE28-4599-BF47-8A413BD88520}" destId="{516FE777-892C-4934-BD88-8A7C99F99675}" srcOrd="1" destOrd="0" presId="urn:microsoft.com/office/officeart/2009/3/layout/HorizontalOrganizationChart"/>
    <dgm:cxn modelId="{1AA587C5-6469-409A-B845-78E4E238DE05}" type="presParOf" srcId="{73DC2737-AE28-4599-BF47-8A413BD88520}" destId="{9391B30D-6099-4F7D-931E-5CA5E50A3576}" srcOrd="2" destOrd="0" presId="urn:microsoft.com/office/officeart/2009/3/layout/HorizontalOrganizationChart"/>
    <dgm:cxn modelId="{1FF5C01D-F94D-4B99-9D05-7FB2CC43FEAA}" type="presParOf" srcId="{FE4C99D6-65BF-48DF-B04A-68EB7417A1B0}" destId="{3FB5198A-F36E-40C3-9614-823EDC5B678C}" srcOrd="2" destOrd="0" presId="urn:microsoft.com/office/officeart/2009/3/layout/HorizontalOrganizationChart"/>
    <dgm:cxn modelId="{80BAFF79-1795-4711-89FA-E7B31E2DC74E}" type="presParOf" srcId="{1363C39E-132F-44FF-9F82-3EB8134AD84C}" destId="{F358C963-5BE0-455B-949E-74397151E2C2}" srcOrd="1" destOrd="0" presId="urn:microsoft.com/office/officeart/2009/3/layout/HorizontalOrganizationChart"/>
    <dgm:cxn modelId="{18F199BA-C267-4DD8-93BA-5E0EAF1E5EEC}" type="presParOf" srcId="{F358C963-5BE0-455B-949E-74397151E2C2}" destId="{6C3F996A-64B7-4D11-A5A7-2B626E9DBC61}" srcOrd="0" destOrd="0" presId="urn:microsoft.com/office/officeart/2009/3/layout/HorizontalOrganizationChart"/>
    <dgm:cxn modelId="{92FD325C-CA69-4B11-897D-D3CFB6452D75}" type="presParOf" srcId="{6C3F996A-64B7-4D11-A5A7-2B626E9DBC61}" destId="{16BDD1B1-6573-49A9-B5D7-5900380DA9FE}" srcOrd="0" destOrd="0" presId="urn:microsoft.com/office/officeart/2009/3/layout/HorizontalOrganizationChart"/>
    <dgm:cxn modelId="{07208AF7-6A86-4DD8-A399-7AD6CF4A0DB3}" type="presParOf" srcId="{6C3F996A-64B7-4D11-A5A7-2B626E9DBC61}" destId="{64294F2E-0A55-4FF7-B70A-76D6ADF390AD}" srcOrd="1" destOrd="0" presId="urn:microsoft.com/office/officeart/2009/3/layout/HorizontalOrganizationChart"/>
    <dgm:cxn modelId="{BC44D588-C5B5-4DA2-97C0-5DD18E633E84}" type="presParOf" srcId="{F358C963-5BE0-455B-949E-74397151E2C2}" destId="{7BEC5FF6-C856-4846-A476-DB98A7D46425}" srcOrd="1" destOrd="0" presId="urn:microsoft.com/office/officeart/2009/3/layout/HorizontalOrganizationChart"/>
    <dgm:cxn modelId="{746437FF-6620-4813-947C-79543166EFC0}" type="presParOf" srcId="{7BEC5FF6-C856-4846-A476-DB98A7D46425}" destId="{B8DEA176-23F1-49DC-93D7-61E1A4F2D62C}" srcOrd="0" destOrd="0" presId="urn:microsoft.com/office/officeart/2009/3/layout/HorizontalOrganizationChart"/>
    <dgm:cxn modelId="{FB7C8ED0-BAE1-42BA-B8C4-7976F6A67CD8}" type="presParOf" srcId="{7BEC5FF6-C856-4846-A476-DB98A7D46425}" destId="{75741D26-983A-435B-9AC3-79193AC24B67}" srcOrd="1" destOrd="0" presId="urn:microsoft.com/office/officeart/2009/3/layout/HorizontalOrganizationChart"/>
    <dgm:cxn modelId="{0D3FD6B7-ECDB-44C7-BFA8-5E423C5318F4}" type="presParOf" srcId="{75741D26-983A-435B-9AC3-79193AC24B67}" destId="{47C358C8-81AD-47F5-BA32-856AC58481B2}" srcOrd="0" destOrd="0" presId="urn:microsoft.com/office/officeart/2009/3/layout/HorizontalOrganizationChart"/>
    <dgm:cxn modelId="{5BC37D5D-E460-4513-86C3-2748E065C989}" type="presParOf" srcId="{47C358C8-81AD-47F5-BA32-856AC58481B2}" destId="{30F0C7C1-13E3-42E2-8FFB-DF4C270C725C}" srcOrd="0" destOrd="0" presId="urn:microsoft.com/office/officeart/2009/3/layout/HorizontalOrganizationChart"/>
    <dgm:cxn modelId="{2A978E9E-1C58-48A5-B99C-0C239A00FCC3}" type="presParOf" srcId="{47C358C8-81AD-47F5-BA32-856AC58481B2}" destId="{E2102E85-3A96-4B9A-ADF6-E44568DBE505}" srcOrd="1" destOrd="0" presId="urn:microsoft.com/office/officeart/2009/3/layout/HorizontalOrganizationChart"/>
    <dgm:cxn modelId="{E68066B2-797D-4CC6-B36A-D6ACCA2F76F0}" type="presParOf" srcId="{75741D26-983A-435B-9AC3-79193AC24B67}" destId="{28BA4C30-E545-46E1-8342-DBE51F874F7B}" srcOrd="1" destOrd="0" presId="urn:microsoft.com/office/officeart/2009/3/layout/HorizontalOrganizationChart"/>
    <dgm:cxn modelId="{4E9CC23D-8CF5-49ED-ACBA-5874FBDCA43B}" type="presParOf" srcId="{75741D26-983A-435B-9AC3-79193AC24B67}" destId="{4E006D7C-311F-40A1-8CF9-C16B2E4C1368}" srcOrd="2" destOrd="0" presId="urn:microsoft.com/office/officeart/2009/3/layout/HorizontalOrganizationChart"/>
    <dgm:cxn modelId="{825DA910-7FE6-43C3-B7BD-6CD71C5F916F}" type="presParOf" srcId="{7BEC5FF6-C856-4846-A476-DB98A7D46425}" destId="{38CAB2FC-CDD3-4A35-A221-9A549B4B8A33}" srcOrd="2" destOrd="0" presId="urn:microsoft.com/office/officeart/2009/3/layout/HorizontalOrganizationChart"/>
    <dgm:cxn modelId="{5BF5608B-0FC4-4742-AA0B-4A51DBB80BF0}" type="presParOf" srcId="{7BEC5FF6-C856-4846-A476-DB98A7D46425}" destId="{FF5D2CCD-1E7D-4B64-B325-D5829E55109C}" srcOrd="3" destOrd="0" presId="urn:microsoft.com/office/officeart/2009/3/layout/HorizontalOrganizationChart"/>
    <dgm:cxn modelId="{39E13800-6247-4274-92BD-C544F3A6D6CB}" type="presParOf" srcId="{FF5D2CCD-1E7D-4B64-B325-D5829E55109C}" destId="{0654D5FE-0349-4776-A15E-F58FDDE363B8}" srcOrd="0" destOrd="0" presId="urn:microsoft.com/office/officeart/2009/3/layout/HorizontalOrganizationChart"/>
    <dgm:cxn modelId="{3C497C5B-DE9C-44D5-9184-0A9F89AAAE0B}" type="presParOf" srcId="{0654D5FE-0349-4776-A15E-F58FDDE363B8}" destId="{1EADD7DE-598F-474D-8DE1-B38E166EFCE4}" srcOrd="0" destOrd="0" presId="urn:microsoft.com/office/officeart/2009/3/layout/HorizontalOrganizationChart"/>
    <dgm:cxn modelId="{A1C59128-9B43-4DEA-8393-22C797358785}" type="presParOf" srcId="{0654D5FE-0349-4776-A15E-F58FDDE363B8}" destId="{BDE4A4FF-134F-4B07-9A39-8219F99B66D2}" srcOrd="1" destOrd="0" presId="urn:microsoft.com/office/officeart/2009/3/layout/HorizontalOrganizationChart"/>
    <dgm:cxn modelId="{EB6B32C1-F4DD-46DF-83FC-5F6559E70AA0}" type="presParOf" srcId="{FF5D2CCD-1E7D-4B64-B325-D5829E55109C}" destId="{FE7F874B-5677-4740-8EE2-C4117C1D5D5F}" srcOrd="1" destOrd="0" presId="urn:microsoft.com/office/officeart/2009/3/layout/HorizontalOrganizationChart"/>
    <dgm:cxn modelId="{A3904B8B-C3A5-4491-BC61-220EF8869936}" type="presParOf" srcId="{FF5D2CCD-1E7D-4B64-B325-D5829E55109C}" destId="{A801AF83-E4AA-40B2-BD76-3DA93FAE1075}" srcOrd="2" destOrd="0" presId="urn:microsoft.com/office/officeart/2009/3/layout/HorizontalOrganizationChart"/>
    <dgm:cxn modelId="{75E1C365-3786-4712-9A20-E39438DBF546}" type="presParOf" srcId="{7BEC5FF6-C856-4846-A476-DB98A7D46425}" destId="{B0587C9F-B446-4D5B-8CAF-5E2324A6DE5C}" srcOrd="4" destOrd="0" presId="urn:microsoft.com/office/officeart/2009/3/layout/HorizontalOrganizationChart"/>
    <dgm:cxn modelId="{0E1B019E-F867-4043-B570-A785EF1A91BB}" type="presParOf" srcId="{7BEC5FF6-C856-4846-A476-DB98A7D46425}" destId="{6521518A-043E-4A34-933C-F4ECCCD10F9E}" srcOrd="5" destOrd="0" presId="urn:microsoft.com/office/officeart/2009/3/layout/HorizontalOrganizationChart"/>
    <dgm:cxn modelId="{F34BEFD7-E04D-4EFC-B96C-7043938B4784}" type="presParOf" srcId="{6521518A-043E-4A34-933C-F4ECCCD10F9E}" destId="{50F13299-1CEA-4B4B-AE48-F97E1FF6E556}" srcOrd="0" destOrd="0" presId="urn:microsoft.com/office/officeart/2009/3/layout/HorizontalOrganizationChart"/>
    <dgm:cxn modelId="{BF20F78C-5267-44D8-B84A-C7908947AA3A}" type="presParOf" srcId="{50F13299-1CEA-4B4B-AE48-F97E1FF6E556}" destId="{8E5C6820-90B3-4DDB-AD4C-95FBE90236CE}" srcOrd="0" destOrd="0" presId="urn:microsoft.com/office/officeart/2009/3/layout/HorizontalOrganizationChart"/>
    <dgm:cxn modelId="{388C5DF2-99B6-4EE8-BC67-B9B6DECABB2E}" type="presParOf" srcId="{50F13299-1CEA-4B4B-AE48-F97E1FF6E556}" destId="{52E70FDB-384C-4ADD-A33D-C28E189EB912}" srcOrd="1" destOrd="0" presId="urn:microsoft.com/office/officeart/2009/3/layout/HorizontalOrganizationChart"/>
    <dgm:cxn modelId="{996830F4-832F-4D6E-87D6-8B96EF82CF8F}" type="presParOf" srcId="{6521518A-043E-4A34-933C-F4ECCCD10F9E}" destId="{FCD922E9-F015-4453-9EC5-395836D9B670}" srcOrd="1" destOrd="0" presId="urn:microsoft.com/office/officeart/2009/3/layout/HorizontalOrganizationChart"/>
    <dgm:cxn modelId="{273EDA9B-DA2F-42B1-B0B2-8919171DCBF4}" type="presParOf" srcId="{6521518A-043E-4A34-933C-F4ECCCD10F9E}" destId="{FC55A75F-D58E-4C6E-BEE7-F07E52A1D071}" srcOrd="2" destOrd="0" presId="urn:microsoft.com/office/officeart/2009/3/layout/HorizontalOrganizationChart"/>
    <dgm:cxn modelId="{EBAA05EF-0BD1-47D6-AEFA-1167AE312DBC}" type="presParOf" srcId="{F358C963-5BE0-455B-949E-74397151E2C2}" destId="{94CD9E86-7D3C-4C22-B9AF-4795860EAE86}" srcOrd="2" destOrd="0" presId="urn:microsoft.com/office/officeart/2009/3/layout/HorizontalOrganizationChar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0587C9F-B446-4D5B-8CAF-5E2324A6DE5C}">
      <dsp:nvSpPr>
        <dsp:cNvPr id="0" name=""/>
        <dsp:cNvSpPr/>
      </dsp:nvSpPr>
      <dsp:spPr>
        <a:xfrm>
          <a:off x="2823951" y="4296444"/>
          <a:ext cx="564183" cy="12129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82091" y="0"/>
              </a:lnTo>
              <a:lnTo>
                <a:pt x="282091" y="1212994"/>
              </a:lnTo>
              <a:lnTo>
                <a:pt x="564183" y="1212994"/>
              </a:lnTo>
            </a:path>
          </a:pathLst>
        </a:custGeom>
        <a:noFill/>
        <a:ln w="10795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8CAB2FC-CDD3-4A35-A221-9A549B4B8A33}">
      <dsp:nvSpPr>
        <dsp:cNvPr id="0" name=""/>
        <dsp:cNvSpPr/>
      </dsp:nvSpPr>
      <dsp:spPr>
        <a:xfrm>
          <a:off x="2823951" y="4250724"/>
          <a:ext cx="564183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64183" y="45720"/>
              </a:lnTo>
            </a:path>
          </a:pathLst>
        </a:custGeom>
        <a:noFill/>
        <a:ln w="10795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8DEA176-23F1-49DC-93D7-61E1A4F2D62C}">
      <dsp:nvSpPr>
        <dsp:cNvPr id="0" name=""/>
        <dsp:cNvSpPr/>
      </dsp:nvSpPr>
      <dsp:spPr>
        <a:xfrm>
          <a:off x="2823951" y="3083450"/>
          <a:ext cx="564183" cy="1212994"/>
        </a:xfrm>
        <a:custGeom>
          <a:avLst/>
          <a:gdLst/>
          <a:ahLst/>
          <a:cxnLst/>
          <a:rect l="0" t="0" r="0" b="0"/>
          <a:pathLst>
            <a:path>
              <a:moveTo>
                <a:pt x="0" y="1212994"/>
              </a:moveTo>
              <a:lnTo>
                <a:pt x="282091" y="1212994"/>
              </a:lnTo>
              <a:lnTo>
                <a:pt x="282091" y="0"/>
              </a:lnTo>
              <a:lnTo>
                <a:pt x="564183" y="0"/>
              </a:lnTo>
            </a:path>
          </a:pathLst>
        </a:custGeom>
        <a:noFill/>
        <a:ln w="10795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01FCC22-A997-4163-86D1-18CF96D2C847}">
      <dsp:nvSpPr>
        <dsp:cNvPr id="0" name=""/>
        <dsp:cNvSpPr/>
      </dsp:nvSpPr>
      <dsp:spPr>
        <a:xfrm>
          <a:off x="2823951" y="1263957"/>
          <a:ext cx="564183" cy="6064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82091" y="0"/>
              </a:lnTo>
              <a:lnTo>
                <a:pt x="282091" y="606497"/>
              </a:lnTo>
              <a:lnTo>
                <a:pt x="564183" y="606497"/>
              </a:lnTo>
            </a:path>
          </a:pathLst>
        </a:custGeom>
        <a:noFill/>
        <a:ln w="10795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3BB0EA-F195-438F-8A00-24E5C8226EA3}">
      <dsp:nvSpPr>
        <dsp:cNvPr id="0" name=""/>
        <dsp:cNvSpPr/>
      </dsp:nvSpPr>
      <dsp:spPr>
        <a:xfrm>
          <a:off x="2823951" y="657460"/>
          <a:ext cx="564183" cy="606497"/>
        </a:xfrm>
        <a:custGeom>
          <a:avLst/>
          <a:gdLst/>
          <a:ahLst/>
          <a:cxnLst/>
          <a:rect l="0" t="0" r="0" b="0"/>
          <a:pathLst>
            <a:path>
              <a:moveTo>
                <a:pt x="0" y="606497"/>
              </a:moveTo>
              <a:lnTo>
                <a:pt x="282091" y="606497"/>
              </a:lnTo>
              <a:lnTo>
                <a:pt x="282091" y="0"/>
              </a:lnTo>
              <a:lnTo>
                <a:pt x="564183" y="0"/>
              </a:lnTo>
            </a:path>
          </a:pathLst>
        </a:custGeom>
        <a:noFill/>
        <a:ln w="10795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0B685FD-79F8-49D8-B895-E2380080227F}">
      <dsp:nvSpPr>
        <dsp:cNvPr id="0" name=""/>
        <dsp:cNvSpPr/>
      </dsp:nvSpPr>
      <dsp:spPr>
        <a:xfrm>
          <a:off x="3033" y="833767"/>
          <a:ext cx="2820917" cy="860379"/>
        </a:xfrm>
        <a:prstGeom prst="rect">
          <a:avLst/>
        </a:prstGeom>
        <a:solidFill>
          <a:srgbClr val="F2C811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" tIns="17145" rIns="17145" bIns="17145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baseline="0">
              <a:solidFill>
                <a:schemeClr val="tx1"/>
              </a:solidFill>
            </a:rPr>
            <a:t>Data Location</a:t>
          </a:r>
          <a:endParaRPr lang="en-GB" sz="2700" kern="1200">
            <a:solidFill>
              <a:schemeClr val="tx1"/>
            </a:solidFill>
          </a:endParaRPr>
        </a:p>
      </dsp:txBody>
      <dsp:txXfrm>
        <a:off x="3033" y="833767"/>
        <a:ext cx="2820917" cy="860379"/>
      </dsp:txXfrm>
    </dsp:sp>
    <dsp:sp modelId="{83A068E7-16B4-4313-9BD7-86F2CC6ED717}">
      <dsp:nvSpPr>
        <dsp:cNvPr id="0" name=""/>
        <dsp:cNvSpPr/>
      </dsp:nvSpPr>
      <dsp:spPr>
        <a:xfrm>
          <a:off x="3388134" y="227270"/>
          <a:ext cx="2820917" cy="860379"/>
        </a:xfrm>
        <a:prstGeom prst="rect">
          <a:avLst/>
        </a:prstGeom>
        <a:solidFill>
          <a:srgbClr val="F2C811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" tIns="17145" rIns="17145" bIns="17145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700" kern="1200">
              <a:solidFill>
                <a:schemeClr val="tx1"/>
              </a:solidFill>
            </a:rPr>
            <a:t>On-Premises</a:t>
          </a:r>
        </a:p>
      </dsp:txBody>
      <dsp:txXfrm>
        <a:off x="3388134" y="227270"/>
        <a:ext cx="2820917" cy="860379"/>
      </dsp:txXfrm>
    </dsp:sp>
    <dsp:sp modelId="{808B666D-E5F6-46A6-9724-A881F7C0FFFF}">
      <dsp:nvSpPr>
        <dsp:cNvPr id="0" name=""/>
        <dsp:cNvSpPr/>
      </dsp:nvSpPr>
      <dsp:spPr>
        <a:xfrm>
          <a:off x="3388134" y="1440265"/>
          <a:ext cx="2820917" cy="860379"/>
        </a:xfrm>
        <a:prstGeom prst="rect">
          <a:avLst/>
        </a:prstGeom>
        <a:solidFill>
          <a:srgbClr val="EDC30D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" tIns="17145" rIns="17145" bIns="17145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baseline="0" dirty="0">
              <a:solidFill>
                <a:schemeClr val="tx1"/>
              </a:solidFill>
            </a:rPr>
            <a:t>Cloud</a:t>
          </a:r>
          <a:endParaRPr lang="en-GB" sz="2700" kern="1200" dirty="0">
            <a:solidFill>
              <a:schemeClr val="tx1"/>
            </a:solidFill>
          </a:endParaRPr>
        </a:p>
      </dsp:txBody>
      <dsp:txXfrm>
        <a:off x="3388134" y="1440265"/>
        <a:ext cx="2820917" cy="860379"/>
      </dsp:txXfrm>
    </dsp:sp>
    <dsp:sp modelId="{16BDD1B1-6573-49A9-B5D7-5900380DA9FE}">
      <dsp:nvSpPr>
        <dsp:cNvPr id="0" name=""/>
        <dsp:cNvSpPr/>
      </dsp:nvSpPr>
      <dsp:spPr>
        <a:xfrm>
          <a:off x="3033" y="3866254"/>
          <a:ext cx="2820917" cy="860379"/>
        </a:xfrm>
        <a:prstGeom prst="rect">
          <a:avLst/>
        </a:prstGeom>
        <a:solidFill>
          <a:srgbClr val="EDC30D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" tIns="17145" rIns="17145" bIns="17145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baseline="0">
              <a:solidFill>
                <a:schemeClr val="tx1"/>
              </a:solidFill>
            </a:rPr>
            <a:t>Data Access</a:t>
          </a:r>
          <a:endParaRPr lang="en-GB" sz="2700" kern="1200">
            <a:solidFill>
              <a:schemeClr val="tx1"/>
            </a:solidFill>
          </a:endParaRPr>
        </a:p>
      </dsp:txBody>
      <dsp:txXfrm>
        <a:off x="3033" y="3866254"/>
        <a:ext cx="2820917" cy="860379"/>
      </dsp:txXfrm>
    </dsp:sp>
    <dsp:sp modelId="{30F0C7C1-13E3-42E2-8FFB-DF4C270C725C}">
      <dsp:nvSpPr>
        <dsp:cNvPr id="0" name=""/>
        <dsp:cNvSpPr/>
      </dsp:nvSpPr>
      <dsp:spPr>
        <a:xfrm>
          <a:off x="3388134" y="2653260"/>
          <a:ext cx="2820917" cy="860379"/>
        </a:xfrm>
        <a:prstGeom prst="rect">
          <a:avLst/>
        </a:prstGeom>
        <a:solidFill>
          <a:srgbClr val="EDC30D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" tIns="17145" rIns="17145" bIns="17145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baseline="0">
              <a:solidFill>
                <a:schemeClr val="tx1"/>
              </a:solidFill>
            </a:rPr>
            <a:t>Sharing</a:t>
          </a:r>
          <a:endParaRPr lang="en-GB" sz="2700" kern="1200">
            <a:solidFill>
              <a:schemeClr val="tx1"/>
            </a:solidFill>
          </a:endParaRPr>
        </a:p>
      </dsp:txBody>
      <dsp:txXfrm>
        <a:off x="3388134" y="2653260"/>
        <a:ext cx="2820917" cy="860379"/>
      </dsp:txXfrm>
    </dsp:sp>
    <dsp:sp modelId="{1EADD7DE-598F-474D-8DE1-B38E166EFCE4}">
      <dsp:nvSpPr>
        <dsp:cNvPr id="0" name=""/>
        <dsp:cNvSpPr/>
      </dsp:nvSpPr>
      <dsp:spPr>
        <a:xfrm>
          <a:off x="3388134" y="3866254"/>
          <a:ext cx="2820917" cy="860379"/>
        </a:xfrm>
        <a:prstGeom prst="rect">
          <a:avLst/>
        </a:prstGeom>
        <a:solidFill>
          <a:srgbClr val="EDC30D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" tIns="17145" rIns="17145" bIns="17145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baseline="0" dirty="0">
              <a:solidFill>
                <a:schemeClr val="tx1"/>
              </a:solidFill>
            </a:rPr>
            <a:t>Row-Level Security</a:t>
          </a:r>
          <a:endParaRPr lang="en-GB" sz="2700" kern="1200" dirty="0">
            <a:solidFill>
              <a:schemeClr val="tx1"/>
            </a:solidFill>
          </a:endParaRPr>
        </a:p>
      </dsp:txBody>
      <dsp:txXfrm>
        <a:off x="3388134" y="3866254"/>
        <a:ext cx="2820917" cy="860379"/>
      </dsp:txXfrm>
    </dsp:sp>
    <dsp:sp modelId="{8E5C6820-90B3-4DDB-AD4C-95FBE90236CE}">
      <dsp:nvSpPr>
        <dsp:cNvPr id="0" name=""/>
        <dsp:cNvSpPr/>
      </dsp:nvSpPr>
      <dsp:spPr>
        <a:xfrm>
          <a:off x="3388134" y="5079249"/>
          <a:ext cx="2820917" cy="860379"/>
        </a:xfrm>
        <a:prstGeom prst="rect">
          <a:avLst/>
        </a:prstGeom>
        <a:solidFill>
          <a:srgbClr val="EDC30D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" tIns="17145" rIns="17145" bIns="17145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700" kern="1200" dirty="0">
              <a:solidFill>
                <a:schemeClr val="tx1"/>
              </a:solidFill>
            </a:rPr>
            <a:t>Public</a:t>
          </a:r>
        </a:p>
      </dsp:txBody>
      <dsp:txXfrm>
        <a:off x="3388134" y="5079249"/>
        <a:ext cx="2820917" cy="8603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HorizontalOrganizationChart">
  <dgm:title val=""/>
  <dgm:desc val=""/>
  <dgm:catLst>
    <dgm:cat type="hierarchy" pri="43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305"/>
      <dgm:constr type="w" for="des" forName="rootComposite" refType="w" fact="10"/>
      <dgm:constr type="h" for="des" forName="rootComposite" refType="w" refFor="des" refForName="rootComposite1" fact="0.305"/>
      <dgm:constr type="w" for="des" forName="rootComposite3" refType="w" fact="10"/>
      <dgm:constr type="h" for="des" forName="rootComposite3" refType="w" refFor="des" refForName="rootComposite1" fact="0.305"/>
      <dgm:constr type="primFontSz" for="des" ptType="node" op="equ"/>
      <dgm:constr type="sp" for="des" op="equ"/>
      <dgm:constr type="sp" for="des" forName="hierRoot1" refType="w" refFor="des" refForName="rootComposite1" fact="0.2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125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125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func="var" arg="dir" op="equ" val="norm">
                  <dgm:alg type="hierRoot">
                    <dgm:param type="hierAlign" val="lT"/>
                  </dgm:alg>
                  <dgm:constrLst>
                    <dgm:constr type="alignOff" val="0.75"/>
                  </dgm:constrLst>
                </dgm:if>
                <dgm:else name="Name9">
                  <dgm:alg type="hierRoot">
                    <dgm:param type="hierAlign" val="rT"/>
                  </dgm:alg>
                  <dgm:constrLst>
                    <dgm:constr type="alignOff" val="0.75"/>
                  </dgm:constrLst>
                </dgm:else>
              </dgm:choose>
            </dgm:if>
            <dgm:if name="Name10" func="var" arg="hierBranch" op="equ" val="r">
              <dgm:choose name="Name11">
                <dgm:if name="Name12" func="var" arg="dir" op="equ" val="norm">
                  <dgm:alg type="hierRoot">
                    <dgm:param type="hierAlign" val="lB"/>
                  </dgm:alg>
                  <dgm:constrLst>
                    <dgm:constr type="alignOff" val="0.75"/>
                  </dgm:constrLst>
                </dgm:if>
                <dgm:else name="Name13">
                  <dgm:alg type="hierRoot">
                    <dgm:param type="hierAlign" val="rB"/>
                  </dgm:alg>
                  <dgm:constrLst>
                    <dgm:constr type="alignOff" val="0.75"/>
                  </dgm:constrLst>
                </dgm:else>
              </dgm:choose>
            </dgm:if>
            <dgm:if name="Name14" func="var" arg="hierBranch" op="equ" val="hang">
              <dgm:choose name="Name15">
                <dgm:if name="Name16" func="var" arg="dir" op="equ" val="norm">
                  <dgm:alg type="hierRoot">
                    <dgm:param type="hierAlign" val="lCtrCh"/>
                  </dgm:alg>
                  <dgm:constrLst>
                    <dgm:constr type="alignOff" val="0.65"/>
                  </dgm:constrLst>
                </dgm:if>
                <dgm:else name="Name17">
                  <dgm:alg type="hierRoot">
                    <dgm:param type="hierAlign" val="rCtrCh"/>
                  </dgm:alg>
                  <dgm:constrLst>
                    <dgm:constr type="alignOff" val="0.65"/>
                  </dgm:constrLst>
                </dgm:else>
              </dgm:choose>
            </dgm:if>
            <dgm:else name="Name18">
              <dgm:choose name="Name19">
                <dgm:if name="Name20" func="var" arg="dir" op="equ" val="norm">
                  <dgm:alg type="hierRoot">
                    <dgm:param type="hierAlign" val="l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if>
                <dgm:else name="Name21">
                  <dgm:alg type="hierRoot">
                    <dgm:param type="hierAlign" val="r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else>
              </dgm:choose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22">
              <dgm:if name="Name23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4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5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6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7">
              <dgm:if name="Name28" func="var" arg="hierBranch" op="equ" val="l">
                <dgm:choose name="Name29">
                  <dgm:if name="Name30" func="var" arg="dir" op="equ" val="norm">
                    <dgm:alg type="hierChild">
                      <dgm:param type="chAlign" val="t"/>
                      <dgm:param type="linDir" val="fromL"/>
                    </dgm:alg>
                  </dgm:if>
                  <dgm:else name="Name31">
                    <dgm:alg type="hierChild">
                      <dgm:param type="chAlign" val="t"/>
                      <dgm:param type="linDir" val="fromR"/>
                    </dgm:alg>
                  </dgm:else>
                </dgm:choose>
              </dgm:if>
              <dgm:if name="Name32" func="var" arg="hierBranch" op="equ" val="r">
                <dgm:choose name="Name33">
                  <dgm:if name="Name34" func="var" arg="dir" op="equ" val="norm">
                    <dgm:alg type="hierChild">
                      <dgm:param type="chAlign" val="b"/>
                      <dgm:param type="linDir" val="fromL"/>
                    </dgm:alg>
                  </dgm:if>
                  <dgm:else name="Name35">
                    <dgm:alg type="hierChild">
                      <dgm:param type="chAlign" val="b"/>
                      <dgm:param type="linDir" val="fromR"/>
                    </dgm:alg>
                  </dgm:else>
                </dgm:choose>
              </dgm:if>
              <dgm:if name="Name36" func="var" arg="hierBranch" op="equ" val="hang">
                <dgm:choose name="Name37">
                  <dgm:if name="Name38" func="var" arg="dir" op="equ" val="norm">
                    <dgm:alg type="hierChild">
                      <dgm:param type="chAlign" val="l"/>
                      <dgm:param type="linDir" val="fromT"/>
                      <dgm:param type="secChAlign" val="t"/>
                      <dgm:param type="secLinDir" val="fromL"/>
                    </dgm:alg>
                  </dgm:if>
                  <dgm:else name="Name39">
                    <dgm:alg type="hierChild">
                      <dgm:param type="chAlign" val="r"/>
                      <dgm:param type="linDir" val="fromT"/>
                      <dgm:param type="secChAlign" val="t"/>
                      <dgm:param type="secLinDir" val="fromR"/>
                    </dgm:alg>
                  </dgm:else>
                </dgm:choose>
              </dgm:if>
              <dgm:else name="Name40">
                <dgm:choose name="Name41">
                  <dgm:if name="Name4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43">
                    <dgm:alg type="hierChild">
                      <dgm:param type="linDir" val="fromT"/>
                      <dgm:param type="ch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44" axis="precedSib" ptType="parTrans" st="-1" cnt="1">
                <dgm:choose name="Name45">
                  <dgm:if name="Name46" func="var" arg="hierBranch" op="equ" val="hang">
                    <dgm:layoutNode name="Name47">
                      <dgm:choose name="Name48">
                        <dgm:if name="Name4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 tCtr"/>
                          </dgm:alg>
                        </dgm:if>
                        <dgm:else name="Name5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 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1" func="var" arg="hierBranch" op="equ" val="l">
                    <dgm:layoutNode name="Name52">
                      <dgm:choose name="Name53">
                        <dgm:if name="Name54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tCtr"/>
                          </dgm:alg>
                        </dgm:if>
                        <dgm:else name="Name55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6" func="var" arg="hierBranch" op="equ" val="r">
                    <dgm:layoutNode name="Name57">
                      <dgm:choose name="Name58">
                        <dgm:if name="Name5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"/>
                          </dgm:alg>
                        </dgm:if>
                        <dgm:else name="Name6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61">
                    <dgm:choose name="Name62">
                      <dgm:if name="Name63" func="var" arg="dir" op="equ" val="norm">
                        <dgm:layoutNode name="Name6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midL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if>
                      <dgm:else name="Name65">
                        <dgm:layoutNode name="Name66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midR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else>
                    </dgm:choos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7">
                  <dgm:if name="Name68" func="var" arg="hierBranch" op="equ" val="l">
                    <dgm:choose name="Name69">
                      <dgm:if name="Name70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71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2" func="var" arg="hierBranch" op="equ" val="r">
                    <dgm:choose name="Name73">
                      <dgm:if name="Name74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75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6" func="var" arg="hierBranch" op="equ" val="hang">
                    <dgm:choose name="Name77">
                      <dgm:if name="Name78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79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80">
                    <dgm:choose name="Name81">
                      <dgm:if name="Name82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83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84">
                    <dgm:if name="Name85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6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7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8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9">
                    <dgm:if name="Name90" func="var" arg="hierBranch" op="equ" val="l">
                      <dgm:choose name="Name91">
                        <dgm:if name="Name92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93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r">
                      <dgm:choose name="Name95">
                        <dgm:if name="Name96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97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98" func="var" arg="hierBranch" op="equ" val="hang">
                      <dgm:choose name="Name99">
                        <dgm:if name="Name100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01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05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a"/>
                </dgm:layoutNode>
                <dgm:layoutNode name="hierChild5">
                  <dgm:choose name="Name107">
                    <dgm:if name="Name108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09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10" ref="rep2b"/>
                </dgm:layoutNode>
              </dgm:layoutNode>
            </dgm:forEach>
          </dgm:layoutNode>
          <dgm:layoutNode name="hierChild3">
            <dgm:choose name="Name111">
              <dgm:if name="Name112" func="var" arg="dir" op="equ" val="norm">
                <dgm:alg type="hierChild">
                  <dgm:param type="chAlign" val="l"/>
                  <dgm:param type="linDir" val="fromT"/>
                  <dgm:param type="secChAlign" val="t"/>
                  <dgm:param type="secLinDir" val="fromL"/>
                </dgm:alg>
              </dgm:if>
              <dgm:else name="Name113">
                <dgm:alg type="hierChild">
                  <dgm:param type="chAlign" val="r"/>
                  <dgm:param type="linDir" val="fromT"/>
                  <dgm:param type="secChAlign" val="t"/>
                  <dgm:param type="sec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4" axis="precedSib" ptType="parTrans" st="-1" cnt="1">
                <dgm:layoutNode name="Name115">
                  <dgm:choose name="Name116">
                    <dgm:if name="Name117" func="var" arg="dir" op="equ" val="norm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R"/>
                        <dgm:param type="endPts" val="bCtr tCtr"/>
                      </dgm:alg>
                    </dgm:if>
                    <dgm:else name="Name11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L"/>
                        <dgm:param type="endPts" val="bCtr tCtr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9">
                  <dgm:if name="Name120" func="var" arg="hierBranch" op="equ" val="l">
                    <dgm:choose name="Name121">
                      <dgm:if name="Name122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123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4" func="var" arg="hierBranch" op="equ" val="r">
                    <dgm:choose name="Name125">
                      <dgm:if name="Name126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127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8" func="var" arg="hierBranch" op="equ" val="hang">
                    <dgm:choose name="Name129">
                      <dgm:if name="Name130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131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132">
                    <dgm:choose name="Name133">
                      <dgm:if name="Name134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135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36">
                    <dgm:if name="Name137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8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9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40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41">
                    <dgm:if name="Name142" func="var" arg="hierBranch" op="equ" val="l">
                      <dgm:choose name="Name143">
                        <dgm:if name="Name144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145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146" func="var" arg="hierBranch" op="equ" val="r">
                      <dgm:choose name="Name147">
                        <dgm:if name="Name148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149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150" func="var" arg="hierBranch" op="equ" val="hang">
                      <dgm:choose name="Name151">
                        <dgm:if name="Name152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53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54">
                      <dgm:choose name="Name155">
                        <dgm:if name="Name156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57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58" ref="rep2a"/>
                </dgm:layoutNode>
                <dgm:layoutNode name="hierChild7">
                  <dgm:choose name="Name159">
                    <dgm:if name="Name160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61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62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A20ACBEE-26EB-47D1-A9F0-3869EF1078CC}" type="datetimeFigureOut">
              <a:rPr lang="en-US" smtClean="0"/>
              <a:t>11/8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76A12792-E5BA-4BF5-BFE4-0C13B9FB5B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5309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51F472B0-9DBF-4374-8A70-DE9093E7996C}" type="datetimeFigureOut">
              <a:rPr lang="en-US" smtClean="0"/>
              <a:t>11/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DD81A89D-8738-4ED5-BF6E-F438F4965D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0266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B2D09C-E420-4905-8E74-B16C64801357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69457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DB2980-E44E-476A-9560-CECFB14A6762}" type="slidenum">
              <a:rPr lang="en-US" sz="1800" kern="0" smtClean="0">
                <a:solidFill>
                  <a:sysClr val="windowText" lastClr="000000"/>
                </a:solidFill>
              </a:rPr>
              <a:pPr>
                <a:defRPr/>
              </a:pPr>
              <a:t>2</a:t>
            </a:fld>
            <a:endParaRPr lang="en-US" sz="18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75122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03668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TechReady 23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>
                <a:solidFill>
                  <a:prstClr val="black"/>
                </a:solidFill>
              </a:rPr>
              <a:pPr/>
              <a:t>11/8/2019 6:09 PM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56509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9E6FA1-EDD9-4252-90BE-45733035611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19115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999" y="562219"/>
            <a:ext cx="6175986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456997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01174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4105125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3747478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70717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4454815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40535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474802"/>
            <a:ext cx="2584938" cy="365125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r>
              <a:rPr lang="en-US"/>
              <a:t>Microsoft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532ACF-8D3E-4AC2-9484-A06CC7189C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93599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resentation Closing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plate&#10;&#10;Description automatically generated">
            <a:extLst>
              <a:ext uri="{FF2B5EF4-FFF2-40B4-BE49-F238E27FC236}">
                <a16:creationId xmlns:a16="http://schemas.microsoft.com/office/drawing/2014/main" id="{66FC881D-83BE-4DF4-91B1-42EB97D2339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51E36CE3-C893-42CC-8706-D086D6C9217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715097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Presentation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88558" y="4749150"/>
            <a:ext cx="9788342" cy="103478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6" name="Picture 5" descr="A picture containing plate&#10;&#10;Description automatically generated">
            <a:extLst>
              <a:ext uri="{FF2B5EF4-FFF2-40B4-BE49-F238E27FC236}">
                <a16:creationId xmlns:a16="http://schemas.microsoft.com/office/drawing/2014/main" id="{D6A85A30-250C-419D-AF40-7BE0DC23EC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263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556063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/>
          <a:p>
            <a:r>
              <a:rPr lang="en-US"/>
              <a:t>Click to edit slide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807534"/>
            <a:ext cx="11653521" cy="5050466"/>
          </a:xfrm>
          <a:prstGeom prst="rect">
            <a:avLst/>
          </a:prstGeom>
        </p:spPr>
        <p:txBody>
          <a:bodyPr vert="horz" wrap="square" lIns="182880" tIns="146304" rIns="182880" bIns="146304" rtlCol="0">
            <a:normAutofit/>
          </a:bodyPr>
          <a:lstStyle/>
          <a:p>
            <a:pPr lvl="0"/>
            <a:r>
              <a:rPr lang="en-US"/>
              <a:t>Click to edi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8291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9" r:id="rId1"/>
    <p:sldLayoutId id="2147483920" r:id="rId2"/>
    <p:sldLayoutId id="2147483922" r:id="rId3"/>
    <p:sldLayoutId id="2147483894" r:id="rId4"/>
    <p:sldLayoutId id="2147483895" r:id="rId5"/>
    <p:sldLayoutId id="2147483923" r:id="rId6"/>
    <p:sldLayoutId id="2147483935" r:id="rId7"/>
    <p:sldLayoutId id="2147483934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n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Tx/>
        <a:buNone/>
        <a:tabLst/>
        <a:defRPr sz="3200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4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504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720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8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936000" marR="0" indent="-180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notesSlide" Target="../notesSlides/notesSlide2.xml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6.svg"/><Relationship Id="rId12" Type="http://schemas.openxmlformats.org/officeDocument/2006/relationships/image" Target="../media/image1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5.png"/><Relationship Id="rId11" Type="http://schemas.openxmlformats.org/officeDocument/2006/relationships/image" Target="../media/image10.svg"/><Relationship Id="rId5" Type="http://schemas.openxmlformats.org/officeDocument/2006/relationships/image" Target="../media/image4.sv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4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0.sv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080999" y="1170446"/>
            <a:ext cx="9788342" cy="2387600"/>
          </a:xfrm>
        </p:spPr>
        <p:txBody>
          <a:bodyPr>
            <a:normAutofit/>
          </a:bodyPr>
          <a:lstStyle/>
          <a:p>
            <a:pPr algn="l"/>
            <a:r>
              <a:rPr lang="en-US" dirty="0">
                <a:solidFill>
                  <a:srgbClr val="282828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Power BI </a:t>
            </a:r>
            <a:r>
              <a:rPr lang="en-US" sz="5400" dirty="0">
                <a:solidFill>
                  <a:srgbClr val="28282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option Framework</a:t>
            </a:r>
            <a:endParaRPr lang="en-US" sz="4800" dirty="0">
              <a:solidFill>
                <a:srgbClr val="282828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C1E7656-E20F-406F-86AF-94364F7044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1829" y="3039204"/>
            <a:ext cx="9788342" cy="2648350"/>
          </a:xfrm>
        </p:spPr>
        <p:txBody>
          <a:bodyPr>
            <a:normAutofit/>
          </a:bodyPr>
          <a:lstStyle/>
          <a:p>
            <a:r>
              <a:rPr lang="en-US" sz="1800" dirty="0"/>
              <a:t>Empower every decision maker</a:t>
            </a:r>
          </a:p>
          <a:p>
            <a:endParaRPr lang="en-US" sz="1800" dirty="0"/>
          </a:p>
          <a:p>
            <a:r>
              <a:rPr lang="en-US" sz="1800" dirty="0"/>
              <a:t>What to Sec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2699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9151">
        <p:fade/>
      </p:transition>
    </mc:Choice>
    <mc:Fallback xmlns="">
      <p:transition spd="med" advTm="19151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 txBox="1">
            <a:spLocks/>
          </p:cNvSpPr>
          <p:nvPr/>
        </p:nvSpPr>
        <p:spPr>
          <a:xfrm>
            <a:off x="978302" y="687508"/>
            <a:ext cx="11193069" cy="899537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>
              <a:defRPr/>
            </a:pPr>
            <a:endParaRPr sz="2000">
              <a:solidFill>
                <a:srgbClr val="EDC30D"/>
              </a:solidFill>
              <a:latin typeface="Segoe UI Light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978302" y="2101172"/>
            <a:ext cx="9767863" cy="33337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5760" indent="-365760">
              <a:spcBef>
                <a:spcPts val="1800"/>
              </a:spcBef>
              <a:buClr>
                <a:srgbClr val="EDC30D"/>
              </a:buClr>
              <a:defRPr/>
            </a:pPr>
            <a:endParaRPr lang="en-US" sz="2000">
              <a:solidFill>
                <a:prstClr val="white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EDC30D"/>
                </a:solidFill>
              </a:rPr>
              <a:t>Why Security needs to be reviewed</a:t>
            </a:r>
            <a:endParaRPr lang="en-GB"/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4020225279"/>
              </p:ext>
            </p:extLst>
          </p:nvPr>
        </p:nvGraphicFramePr>
        <p:xfrm>
          <a:off x="5654566" y="273269"/>
          <a:ext cx="6212086" cy="61669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80405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70473">
        <p:fade/>
      </p:transition>
    </mc:Choice>
    <mc:Fallback xmlns="">
      <p:transition spd="med" advTm="70473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10B685FD-79F8-49D8-B895-E2380080227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graphicEl>
                                              <a:dgm id="{10B685FD-79F8-49D8-B895-E2380080227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D33BB0EA-F195-438F-8A00-24E5C8226EA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graphicEl>
                                              <a:dgm id="{D33BB0EA-F195-438F-8A00-24E5C8226EA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83A068E7-16B4-4313-9BD7-86F2CC6ED71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>
                                            <p:graphicEl>
                                              <a:dgm id="{83A068E7-16B4-4313-9BD7-86F2CC6ED71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501FCC22-A997-4163-86D1-18CF96D2C84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">
                                            <p:graphicEl>
                                              <a:dgm id="{501FCC22-A997-4163-86D1-18CF96D2C84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808B666D-E5F6-46A6-9724-A881F7C0FFF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">
                                            <p:graphicEl>
                                              <a:dgm id="{808B666D-E5F6-46A6-9724-A881F7C0FFF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16BDD1B1-6573-49A9-B5D7-5900380DA9F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">
                                            <p:graphicEl>
                                              <a:dgm id="{16BDD1B1-6573-49A9-B5D7-5900380DA9F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B8DEA176-23F1-49DC-93D7-61E1A4F2D62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>
                                            <p:graphicEl>
                                              <a:dgm id="{B8DEA176-23F1-49DC-93D7-61E1A4F2D62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30F0C7C1-13E3-42E2-8FFB-DF4C270C725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">
                                            <p:graphicEl>
                                              <a:dgm id="{30F0C7C1-13E3-42E2-8FFB-DF4C270C725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38CAB2FC-CDD3-4A35-A221-9A549B4B8A3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">
                                            <p:graphicEl>
                                              <a:dgm id="{38CAB2FC-CDD3-4A35-A221-9A549B4B8A3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1EADD7DE-598F-474D-8DE1-B38E166EFCE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">
                                            <p:graphicEl>
                                              <a:dgm id="{1EADD7DE-598F-474D-8DE1-B38E166EFCE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B0587C9F-B446-4D5B-8CAF-5E2324A6DE5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">
                                            <p:graphicEl>
                                              <a:dgm id="{B0587C9F-B446-4D5B-8CAF-5E2324A6DE5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8E5C6820-90B3-4DDB-AD4C-95FBE90236C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">
                                            <p:graphicEl>
                                              <a:dgm id="{8E5C6820-90B3-4DDB-AD4C-95FBE90236C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" grpId="0" uiExpand="1">
        <p:bldSub>
          <a:bldDgm bld="one"/>
        </p:bldSub>
      </p:bldGraphic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onsiderations</a:t>
            </a:r>
          </a:p>
        </p:txBody>
      </p:sp>
      <p:sp>
        <p:nvSpPr>
          <p:cNvPr id="6" name="Title 2"/>
          <p:cNvSpPr txBox="1">
            <a:spLocks/>
          </p:cNvSpPr>
          <p:nvPr/>
        </p:nvSpPr>
        <p:spPr>
          <a:xfrm>
            <a:off x="219135" y="3604348"/>
            <a:ext cx="5066323" cy="1098397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cap="none" spc="-100" baseline="0" dirty="0">
                <a:ln w="3175">
                  <a:noFill/>
                </a:ln>
                <a:solidFill>
                  <a:srgbClr val="F2C811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GB" sz="2400">
                <a:solidFill>
                  <a:schemeClr val="bg1"/>
                </a:solidFill>
                <a:latin typeface="+mj-lt"/>
              </a:rPr>
              <a:t>Data Sourc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D9394106-C9B6-4892-9B26-2E9503B2461E}"/>
              </a:ext>
            </a:extLst>
          </p:cNvPr>
          <p:cNvSpPr txBox="1">
            <a:spLocks/>
          </p:cNvSpPr>
          <p:nvPr/>
        </p:nvSpPr>
        <p:spPr>
          <a:xfrm>
            <a:off x="6553200" y="1069426"/>
            <a:ext cx="4980404" cy="4893647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 sz="3600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6000" marR="0" indent="-180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50000"/>
              </a:lnSpc>
            </a:pPr>
            <a:r>
              <a:rPr lang="en-GB" dirty="0"/>
              <a:t>Data Classification</a:t>
            </a:r>
          </a:p>
          <a:p>
            <a:pPr lvl="0">
              <a:lnSpc>
                <a:spcPct val="150000"/>
              </a:lnSpc>
            </a:pPr>
            <a:r>
              <a:rPr lang="en-GB" dirty="0"/>
              <a:t>Data source access</a:t>
            </a:r>
          </a:p>
          <a:p>
            <a:pPr lvl="0">
              <a:lnSpc>
                <a:spcPct val="150000"/>
              </a:lnSpc>
            </a:pPr>
            <a:r>
              <a:rPr lang="en-GB" dirty="0"/>
              <a:t>Security trimming</a:t>
            </a:r>
          </a:p>
          <a:p>
            <a:pPr lvl="0">
              <a:lnSpc>
                <a:spcPct val="150000"/>
              </a:lnSpc>
            </a:pPr>
            <a:r>
              <a:rPr lang="en-GB" dirty="0"/>
              <a:t>Data Preparation</a:t>
            </a:r>
          </a:p>
          <a:p>
            <a:pPr lvl="0">
              <a:lnSpc>
                <a:spcPct val="150000"/>
              </a:lnSpc>
            </a:pPr>
            <a:r>
              <a:rPr lang="en-GB" dirty="0"/>
              <a:t>Excel / Flat file</a:t>
            </a:r>
          </a:p>
        </p:txBody>
      </p:sp>
      <p:pic>
        <p:nvPicPr>
          <p:cNvPr id="13" name="Graphic 12" descr="Checklist">
            <a:extLst>
              <a:ext uri="{FF2B5EF4-FFF2-40B4-BE49-F238E27FC236}">
                <a16:creationId xmlns:a16="http://schemas.microsoft.com/office/drawing/2014/main" id="{49B5C62F-893E-40E2-9DD1-F710512B308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38800" y="1202790"/>
            <a:ext cx="914400" cy="914400"/>
          </a:xfrm>
          <a:prstGeom prst="rect">
            <a:avLst/>
          </a:prstGeom>
        </p:spPr>
      </p:pic>
      <p:pic>
        <p:nvPicPr>
          <p:cNvPr id="15" name="Graphic 14" descr="Key">
            <a:extLst>
              <a:ext uri="{FF2B5EF4-FFF2-40B4-BE49-F238E27FC236}">
                <a16:creationId xmlns:a16="http://schemas.microsoft.com/office/drawing/2014/main" id="{0E1D4D25-08E6-4D4B-A139-661BB7D4361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38800" y="2161980"/>
            <a:ext cx="914400" cy="914400"/>
          </a:xfrm>
          <a:prstGeom prst="rect">
            <a:avLst/>
          </a:prstGeom>
        </p:spPr>
      </p:pic>
      <p:pic>
        <p:nvPicPr>
          <p:cNvPr id="17" name="Graphic 16" descr="Lock">
            <a:extLst>
              <a:ext uri="{FF2B5EF4-FFF2-40B4-BE49-F238E27FC236}">
                <a16:creationId xmlns:a16="http://schemas.microsoft.com/office/drawing/2014/main" id="{807B07D2-163D-4D41-9072-C56F479C26F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638800" y="3066024"/>
            <a:ext cx="914400" cy="914400"/>
          </a:xfrm>
          <a:prstGeom prst="rect">
            <a:avLst/>
          </a:prstGeom>
        </p:spPr>
      </p:pic>
      <p:pic>
        <p:nvPicPr>
          <p:cNvPr id="19" name="Graphic 18" descr="Database">
            <a:extLst>
              <a:ext uri="{FF2B5EF4-FFF2-40B4-BE49-F238E27FC236}">
                <a16:creationId xmlns:a16="http://schemas.microsoft.com/office/drawing/2014/main" id="{733940D2-675E-427F-A1F4-5FD3FDCB5BF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638800" y="4020116"/>
            <a:ext cx="914400" cy="914400"/>
          </a:xfrm>
          <a:prstGeom prst="rect">
            <a:avLst/>
          </a:prstGeom>
        </p:spPr>
      </p:pic>
      <p:pic>
        <p:nvPicPr>
          <p:cNvPr id="21" name="Graphic 20" descr="Table">
            <a:extLst>
              <a:ext uri="{FF2B5EF4-FFF2-40B4-BE49-F238E27FC236}">
                <a16:creationId xmlns:a16="http://schemas.microsoft.com/office/drawing/2014/main" id="{AF2CAA7D-27EE-4103-B054-1BADFBB82D6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638800" y="4934516"/>
            <a:ext cx="914400" cy="914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90817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76261">
        <p:fade/>
      </p:transition>
    </mc:Choice>
    <mc:Fallback xmlns="">
      <p:transition spd="med" advTm="176261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15"/>
          <p:cNvSpPr/>
          <p:nvPr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7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5" name="Title 2"/>
          <p:cNvSpPr txBox="1">
            <a:spLocks/>
          </p:cNvSpPr>
          <p:nvPr/>
        </p:nvSpPr>
        <p:spPr>
          <a:xfrm>
            <a:off x="274639" y="2267435"/>
            <a:ext cx="5148261" cy="245965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sz="5500" spc="-100">
                <a:gradFill>
                  <a:gsLst>
                    <a:gs pos="66272">
                      <a:srgbClr val="F2C811"/>
                    </a:gs>
                    <a:gs pos="50000">
                      <a:srgbClr val="F2C81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Connecting data to </a:t>
            </a:r>
            <a:br>
              <a:rPr sz="5500" spc="-100">
                <a:gradFill>
                  <a:gsLst>
                    <a:gs pos="66272">
                      <a:srgbClr val="F2C811"/>
                    </a:gs>
                    <a:gs pos="50000">
                      <a:srgbClr val="F2C81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sz="5500" spc="-100">
                <a:gradFill>
                  <a:gsLst>
                    <a:gs pos="66272">
                      <a:srgbClr val="F2C811"/>
                    </a:gs>
                    <a:gs pos="50000">
                      <a:srgbClr val="F2C81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ower BI</a:t>
            </a:r>
          </a:p>
        </p:txBody>
      </p:sp>
      <p:sp>
        <p:nvSpPr>
          <p:cNvPr id="26" name="Rectangle 25"/>
          <p:cNvSpPr/>
          <p:nvPr/>
        </p:nvSpPr>
        <p:spPr>
          <a:xfrm>
            <a:off x="6482476" y="1047612"/>
            <a:ext cx="5243585" cy="4762776"/>
          </a:xfrm>
          <a:prstGeom prst="rect">
            <a:avLst/>
          </a:prstGeom>
        </p:spPr>
        <p:txBody>
          <a:bodyPr wrap="square" lIns="182880" tIns="146304" rIns="182880" bIns="146304">
            <a:noAutofit/>
          </a:bodyPr>
          <a:lstStyle/>
          <a:p>
            <a:pPr defTabSz="932742">
              <a:lnSpc>
                <a:spcPct val="90000"/>
              </a:lnSpc>
              <a:spcAft>
                <a:spcPts val="600"/>
              </a:spcAft>
            </a:pPr>
            <a:r>
              <a:rPr lang="en-US" sz="3600" dirty="0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latin typeface="+mj-lt"/>
                <a:cs typeface="Segoe UI Semibold" panose="020B0702040204020203" pitchFamily="34" charset="0"/>
              </a:rPr>
              <a:t>Where is your data?</a:t>
            </a:r>
          </a:p>
          <a:p>
            <a:pPr marL="292100" lvl="2" defTabSz="932742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Cloud</a:t>
            </a:r>
          </a:p>
          <a:p>
            <a:pPr marL="292100" lvl="2" defTabSz="932742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On-premises</a:t>
            </a:r>
          </a:p>
          <a:p>
            <a:pPr defTabSz="932742">
              <a:lnSpc>
                <a:spcPct val="90000"/>
              </a:lnSpc>
              <a:spcBef>
                <a:spcPts val="3000"/>
              </a:spcBef>
              <a:spcAft>
                <a:spcPts val="600"/>
              </a:spcAft>
            </a:pPr>
            <a:r>
              <a:rPr lang="en-US" sz="3600" dirty="0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latin typeface="+mj-lt"/>
                <a:cs typeface="Segoe UI Semibold" panose="020B0702040204020203" pitchFamily="34" charset="0"/>
              </a:rPr>
              <a:t>How do you refresh?</a:t>
            </a:r>
          </a:p>
          <a:p>
            <a:pPr marL="292100" lvl="2" defTabSz="932742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Personal gateway</a:t>
            </a:r>
          </a:p>
          <a:p>
            <a:pPr marL="292100" lvl="2" defTabSz="932742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On-premises data gateway</a:t>
            </a:r>
          </a:p>
          <a:p>
            <a:pPr defTabSz="932742">
              <a:lnSpc>
                <a:spcPct val="90000"/>
              </a:lnSpc>
              <a:spcBef>
                <a:spcPts val="3000"/>
              </a:spcBef>
              <a:spcAft>
                <a:spcPts val="600"/>
              </a:spcAft>
            </a:pPr>
            <a:r>
              <a:rPr lang="en-US" sz="3600" dirty="0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latin typeface="+mj-lt"/>
                <a:cs typeface="Segoe UI Semibold" panose="020B0702040204020203" pitchFamily="34" charset="0"/>
              </a:rPr>
              <a:t>How do you connect? </a:t>
            </a:r>
          </a:p>
          <a:p>
            <a:pPr marL="292100" lvl="2" defTabSz="932742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Import data</a:t>
            </a:r>
          </a:p>
          <a:p>
            <a:pPr marL="292100" lvl="2" defTabSz="932742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Direct / Live query</a:t>
            </a:r>
          </a:p>
        </p:txBody>
      </p:sp>
      <p:pic>
        <p:nvPicPr>
          <p:cNvPr id="4" name="Graphic 3" descr="Marker">
            <a:extLst>
              <a:ext uri="{FF2B5EF4-FFF2-40B4-BE49-F238E27FC236}">
                <a16:creationId xmlns:a16="http://schemas.microsoft.com/office/drawing/2014/main" id="{4D00AB84-21F8-4FFC-8070-7D981D060A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638800" y="947036"/>
            <a:ext cx="914400" cy="914400"/>
          </a:xfrm>
          <a:prstGeom prst="rect">
            <a:avLst/>
          </a:prstGeom>
        </p:spPr>
      </p:pic>
      <p:pic>
        <p:nvPicPr>
          <p:cNvPr id="6" name="Graphic 5" descr="Repeat">
            <a:extLst>
              <a:ext uri="{FF2B5EF4-FFF2-40B4-BE49-F238E27FC236}">
                <a16:creationId xmlns:a16="http://schemas.microsoft.com/office/drawing/2014/main" id="{CB4326FC-F6AF-43D7-AA20-DD9BD1530A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38800" y="2582862"/>
            <a:ext cx="914400" cy="914400"/>
          </a:xfrm>
          <a:prstGeom prst="rect">
            <a:avLst/>
          </a:prstGeom>
        </p:spPr>
      </p:pic>
      <p:pic>
        <p:nvPicPr>
          <p:cNvPr id="8" name="Graphic 7" descr="Playbook">
            <a:extLst>
              <a:ext uri="{FF2B5EF4-FFF2-40B4-BE49-F238E27FC236}">
                <a16:creationId xmlns:a16="http://schemas.microsoft.com/office/drawing/2014/main" id="{6BCD9EA1-C308-4CBA-BE93-0A9EF520D5E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38800" y="4134303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6231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9164">
        <p:fade/>
      </p:transition>
    </mc:Choice>
    <mc:Fallback xmlns="">
      <p:transition spd="med" advTm="49164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Rectangle 15"/>
          <p:cNvSpPr/>
          <p:nvPr/>
        </p:nvSpPr>
        <p:spPr bwMode="auto">
          <a:xfrm>
            <a:off x="866" y="1460"/>
            <a:ext cx="5315432" cy="6856055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0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12211" y="1760678"/>
            <a:ext cx="5059507" cy="3336645"/>
          </a:xfrm>
          <a:prstGeom prst="rect">
            <a:avLst/>
          </a:prstGeom>
        </p:spPr>
        <p:txBody>
          <a:bodyPr wrap="square" lIns="179285" tIns="143428" rIns="179285" bIns="143428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90000"/>
            </a:pPr>
            <a:r>
              <a:rPr lang="en-US" sz="5500" b="1" dirty="0">
                <a:solidFill>
                  <a:srgbClr val="F2C81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How Power BI views </a:t>
            </a:r>
            <a:br>
              <a:rPr lang="en-US" sz="5500" b="1" dirty="0">
                <a:solidFill>
                  <a:srgbClr val="F2C81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5500" b="1" dirty="0">
                <a:solidFill>
                  <a:srgbClr val="F2C81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your data model</a:t>
            </a:r>
          </a:p>
        </p:txBody>
      </p:sp>
      <p:grpSp>
        <p:nvGrpSpPr>
          <p:cNvPr id="22" name="Group 8"/>
          <p:cNvGrpSpPr>
            <a:grpSpLocks noChangeAspect="1"/>
          </p:cNvGrpSpPr>
          <p:nvPr/>
        </p:nvGrpSpPr>
        <p:grpSpPr bwMode="auto">
          <a:xfrm>
            <a:off x="5800877" y="3755865"/>
            <a:ext cx="588962" cy="434975"/>
            <a:chOff x="3871" y="2268"/>
            <a:chExt cx="371" cy="274"/>
          </a:xfrm>
          <a:solidFill>
            <a:schemeClr val="bg1"/>
          </a:solidFill>
        </p:grpSpPr>
        <p:sp>
          <p:nvSpPr>
            <p:cNvPr id="23" name="Freeform 9"/>
            <p:cNvSpPr>
              <a:spLocks noEditPoints="1"/>
            </p:cNvSpPr>
            <p:nvPr/>
          </p:nvSpPr>
          <p:spPr bwMode="auto">
            <a:xfrm>
              <a:off x="3871" y="2343"/>
              <a:ext cx="148" cy="199"/>
            </a:xfrm>
            <a:custGeom>
              <a:avLst/>
              <a:gdLst>
                <a:gd name="T0" fmla="*/ 124 w 148"/>
                <a:gd name="T1" fmla="*/ 25 h 199"/>
                <a:gd name="T2" fmla="*/ 124 w 148"/>
                <a:gd name="T3" fmla="*/ 174 h 199"/>
                <a:gd name="T4" fmla="*/ 25 w 148"/>
                <a:gd name="T5" fmla="*/ 174 h 199"/>
                <a:gd name="T6" fmla="*/ 25 w 148"/>
                <a:gd name="T7" fmla="*/ 25 h 199"/>
                <a:gd name="T8" fmla="*/ 124 w 148"/>
                <a:gd name="T9" fmla="*/ 25 h 199"/>
                <a:gd name="T10" fmla="*/ 148 w 148"/>
                <a:gd name="T11" fmla="*/ 0 h 199"/>
                <a:gd name="T12" fmla="*/ 0 w 148"/>
                <a:gd name="T13" fmla="*/ 0 h 199"/>
                <a:gd name="T14" fmla="*/ 0 w 148"/>
                <a:gd name="T15" fmla="*/ 199 h 199"/>
                <a:gd name="T16" fmla="*/ 148 w 148"/>
                <a:gd name="T17" fmla="*/ 199 h 199"/>
                <a:gd name="T18" fmla="*/ 148 w 148"/>
                <a:gd name="T19" fmla="*/ 0 h 199"/>
                <a:gd name="T20" fmla="*/ 148 w 148"/>
                <a:gd name="T21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8" h="199">
                  <a:moveTo>
                    <a:pt x="124" y="25"/>
                  </a:moveTo>
                  <a:lnTo>
                    <a:pt x="124" y="174"/>
                  </a:lnTo>
                  <a:lnTo>
                    <a:pt x="25" y="174"/>
                  </a:lnTo>
                  <a:lnTo>
                    <a:pt x="25" y="25"/>
                  </a:lnTo>
                  <a:lnTo>
                    <a:pt x="124" y="25"/>
                  </a:lnTo>
                  <a:close/>
                  <a:moveTo>
                    <a:pt x="148" y="0"/>
                  </a:moveTo>
                  <a:lnTo>
                    <a:pt x="0" y="0"/>
                  </a:lnTo>
                  <a:lnTo>
                    <a:pt x="0" y="199"/>
                  </a:lnTo>
                  <a:lnTo>
                    <a:pt x="148" y="199"/>
                  </a:lnTo>
                  <a:lnTo>
                    <a:pt x="148" y="0"/>
                  </a:lnTo>
                  <a:lnTo>
                    <a:pt x="148" y="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Freeform 10"/>
            <p:cNvSpPr>
              <a:spLocks noEditPoints="1"/>
            </p:cNvSpPr>
            <p:nvPr/>
          </p:nvSpPr>
          <p:spPr bwMode="auto">
            <a:xfrm>
              <a:off x="3871" y="2343"/>
              <a:ext cx="148" cy="199"/>
            </a:xfrm>
            <a:custGeom>
              <a:avLst/>
              <a:gdLst>
                <a:gd name="T0" fmla="*/ 124 w 148"/>
                <a:gd name="T1" fmla="*/ 25 h 199"/>
                <a:gd name="T2" fmla="*/ 124 w 148"/>
                <a:gd name="T3" fmla="*/ 174 h 199"/>
                <a:gd name="T4" fmla="*/ 25 w 148"/>
                <a:gd name="T5" fmla="*/ 174 h 199"/>
                <a:gd name="T6" fmla="*/ 25 w 148"/>
                <a:gd name="T7" fmla="*/ 25 h 199"/>
                <a:gd name="T8" fmla="*/ 124 w 148"/>
                <a:gd name="T9" fmla="*/ 25 h 199"/>
                <a:gd name="T10" fmla="*/ 148 w 148"/>
                <a:gd name="T11" fmla="*/ 0 h 199"/>
                <a:gd name="T12" fmla="*/ 0 w 148"/>
                <a:gd name="T13" fmla="*/ 0 h 199"/>
                <a:gd name="T14" fmla="*/ 0 w 148"/>
                <a:gd name="T15" fmla="*/ 199 h 199"/>
                <a:gd name="T16" fmla="*/ 148 w 148"/>
                <a:gd name="T17" fmla="*/ 199 h 199"/>
                <a:gd name="T18" fmla="*/ 148 w 148"/>
                <a:gd name="T19" fmla="*/ 0 h 199"/>
                <a:gd name="T20" fmla="*/ 148 w 148"/>
                <a:gd name="T21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8" h="199">
                  <a:moveTo>
                    <a:pt x="124" y="25"/>
                  </a:moveTo>
                  <a:lnTo>
                    <a:pt x="124" y="174"/>
                  </a:lnTo>
                  <a:lnTo>
                    <a:pt x="25" y="174"/>
                  </a:lnTo>
                  <a:lnTo>
                    <a:pt x="25" y="25"/>
                  </a:lnTo>
                  <a:lnTo>
                    <a:pt x="124" y="25"/>
                  </a:lnTo>
                  <a:moveTo>
                    <a:pt x="148" y="0"/>
                  </a:moveTo>
                  <a:lnTo>
                    <a:pt x="0" y="0"/>
                  </a:lnTo>
                  <a:lnTo>
                    <a:pt x="0" y="199"/>
                  </a:lnTo>
                  <a:lnTo>
                    <a:pt x="148" y="199"/>
                  </a:lnTo>
                  <a:lnTo>
                    <a:pt x="148" y="0"/>
                  </a:lnTo>
                  <a:lnTo>
                    <a:pt x="148" y="0"/>
                  </a:ln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Freeform 11"/>
            <p:cNvSpPr>
              <a:spLocks/>
            </p:cNvSpPr>
            <p:nvPr/>
          </p:nvSpPr>
          <p:spPr bwMode="auto">
            <a:xfrm>
              <a:off x="3871" y="2268"/>
              <a:ext cx="371" cy="274"/>
            </a:xfrm>
            <a:custGeom>
              <a:avLst/>
              <a:gdLst>
                <a:gd name="T0" fmla="*/ 0 w 371"/>
                <a:gd name="T1" fmla="*/ 0 h 274"/>
                <a:gd name="T2" fmla="*/ 0 w 371"/>
                <a:gd name="T3" fmla="*/ 13 h 274"/>
                <a:gd name="T4" fmla="*/ 0 w 371"/>
                <a:gd name="T5" fmla="*/ 25 h 274"/>
                <a:gd name="T6" fmla="*/ 0 w 371"/>
                <a:gd name="T7" fmla="*/ 50 h 274"/>
                <a:gd name="T8" fmla="*/ 25 w 371"/>
                <a:gd name="T9" fmla="*/ 50 h 274"/>
                <a:gd name="T10" fmla="*/ 25 w 371"/>
                <a:gd name="T11" fmla="*/ 25 h 274"/>
                <a:gd name="T12" fmla="*/ 346 w 371"/>
                <a:gd name="T13" fmla="*/ 25 h 274"/>
                <a:gd name="T14" fmla="*/ 346 w 371"/>
                <a:gd name="T15" fmla="*/ 199 h 274"/>
                <a:gd name="T16" fmla="*/ 173 w 371"/>
                <a:gd name="T17" fmla="*/ 199 h 274"/>
                <a:gd name="T18" fmla="*/ 173 w 371"/>
                <a:gd name="T19" fmla="*/ 224 h 274"/>
                <a:gd name="T20" fmla="*/ 173 w 371"/>
                <a:gd name="T21" fmla="*/ 249 h 274"/>
                <a:gd name="T22" fmla="*/ 173 w 371"/>
                <a:gd name="T23" fmla="*/ 274 h 274"/>
                <a:gd name="T24" fmla="*/ 247 w 371"/>
                <a:gd name="T25" fmla="*/ 274 h 274"/>
                <a:gd name="T26" fmla="*/ 247 w 371"/>
                <a:gd name="T27" fmla="*/ 249 h 274"/>
                <a:gd name="T28" fmla="*/ 198 w 371"/>
                <a:gd name="T29" fmla="*/ 249 h 274"/>
                <a:gd name="T30" fmla="*/ 198 w 371"/>
                <a:gd name="T31" fmla="*/ 224 h 274"/>
                <a:gd name="T32" fmla="*/ 346 w 371"/>
                <a:gd name="T33" fmla="*/ 224 h 274"/>
                <a:gd name="T34" fmla="*/ 359 w 371"/>
                <a:gd name="T35" fmla="*/ 224 h 274"/>
                <a:gd name="T36" fmla="*/ 371 w 371"/>
                <a:gd name="T37" fmla="*/ 224 h 274"/>
                <a:gd name="T38" fmla="*/ 371 w 371"/>
                <a:gd name="T39" fmla="*/ 25 h 274"/>
                <a:gd name="T40" fmla="*/ 371 w 371"/>
                <a:gd name="T41" fmla="*/ 13 h 274"/>
                <a:gd name="T42" fmla="*/ 371 w 371"/>
                <a:gd name="T43" fmla="*/ 0 h 274"/>
                <a:gd name="T44" fmla="*/ 0 w 371"/>
                <a:gd name="T45" fmla="*/ 0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71" h="274">
                  <a:moveTo>
                    <a:pt x="0" y="0"/>
                  </a:moveTo>
                  <a:lnTo>
                    <a:pt x="0" y="13"/>
                  </a:lnTo>
                  <a:lnTo>
                    <a:pt x="0" y="25"/>
                  </a:lnTo>
                  <a:lnTo>
                    <a:pt x="0" y="50"/>
                  </a:lnTo>
                  <a:lnTo>
                    <a:pt x="25" y="50"/>
                  </a:lnTo>
                  <a:lnTo>
                    <a:pt x="25" y="25"/>
                  </a:lnTo>
                  <a:lnTo>
                    <a:pt x="346" y="25"/>
                  </a:lnTo>
                  <a:lnTo>
                    <a:pt x="346" y="199"/>
                  </a:lnTo>
                  <a:lnTo>
                    <a:pt x="173" y="199"/>
                  </a:lnTo>
                  <a:lnTo>
                    <a:pt x="173" y="224"/>
                  </a:lnTo>
                  <a:lnTo>
                    <a:pt x="173" y="249"/>
                  </a:lnTo>
                  <a:lnTo>
                    <a:pt x="173" y="274"/>
                  </a:lnTo>
                  <a:lnTo>
                    <a:pt x="247" y="274"/>
                  </a:lnTo>
                  <a:lnTo>
                    <a:pt x="247" y="249"/>
                  </a:lnTo>
                  <a:lnTo>
                    <a:pt x="198" y="249"/>
                  </a:lnTo>
                  <a:lnTo>
                    <a:pt x="198" y="224"/>
                  </a:lnTo>
                  <a:lnTo>
                    <a:pt x="346" y="224"/>
                  </a:lnTo>
                  <a:lnTo>
                    <a:pt x="359" y="224"/>
                  </a:lnTo>
                  <a:lnTo>
                    <a:pt x="371" y="224"/>
                  </a:lnTo>
                  <a:lnTo>
                    <a:pt x="371" y="25"/>
                  </a:lnTo>
                  <a:lnTo>
                    <a:pt x="371" y="13"/>
                  </a:lnTo>
                  <a:lnTo>
                    <a:pt x="37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4" name="Graphic 3" descr="Cloud">
            <a:extLst>
              <a:ext uri="{FF2B5EF4-FFF2-40B4-BE49-F238E27FC236}">
                <a16:creationId xmlns:a16="http://schemas.microsoft.com/office/drawing/2014/main" id="{EE3DE5FA-0B48-43D1-9774-38A3F1137AB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78627" y="1343287"/>
            <a:ext cx="914400" cy="9144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C72E18D-F7D6-4CF5-B135-C896DD81DDC5}"/>
              </a:ext>
            </a:extLst>
          </p:cNvPr>
          <p:cNvSpPr/>
          <p:nvPr/>
        </p:nvSpPr>
        <p:spPr>
          <a:xfrm>
            <a:off x="6493027" y="1485081"/>
            <a:ext cx="5359473" cy="3612242"/>
          </a:xfrm>
          <a:prstGeom prst="rect">
            <a:avLst/>
          </a:prstGeom>
        </p:spPr>
        <p:txBody>
          <a:bodyPr wrap="square" lIns="182880" tIns="146304" rIns="182880" bIns="146304">
            <a:noAutofit/>
          </a:bodyPr>
          <a:lstStyle/>
          <a:p>
            <a:pPr defTabSz="932742">
              <a:lnSpc>
                <a:spcPct val="90000"/>
              </a:lnSpc>
              <a:spcAft>
                <a:spcPts val="600"/>
              </a:spcAft>
            </a:pPr>
            <a:r>
              <a:rPr lang="en-US" sz="3600" dirty="0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latin typeface="+mj-lt"/>
                <a:cs typeface="Segoe UI Semibold" panose="020B0702040204020203" pitchFamily="34" charset="0"/>
              </a:rPr>
              <a:t>Cloud Models</a:t>
            </a:r>
          </a:p>
          <a:p>
            <a:pPr marL="292100" lvl="2" defTabSz="932742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Dataset metadata and data stored in Power BI</a:t>
            </a:r>
          </a:p>
          <a:p>
            <a:pPr defTabSz="932742">
              <a:lnSpc>
                <a:spcPct val="90000"/>
              </a:lnSpc>
              <a:spcBef>
                <a:spcPts val="3000"/>
              </a:spcBef>
              <a:spcAft>
                <a:spcPts val="600"/>
              </a:spcAft>
            </a:pPr>
            <a:endParaRPr lang="en-US" sz="2800" dirty="0"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latin typeface="+mj-lt"/>
              <a:cs typeface="Segoe UI Semibold" panose="020B0702040204020203" pitchFamily="34" charset="0"/>
            </a:endParaRPr>
          </a:p>
          <a:p>
            <a:pPr defTabSz="932742">
              <a:lnSpc>
                <a:spcPct val="90000"/>
              </a:lnSpc>
              <a:spcBef>
                <a:spcPts val="3000"/>
              </a:spcBef>
              <a:spcAft>
                <a:spcPts val="600"/>
              </a:spcAft>
            </a:pPr>
            <a:r>
              <a:rPr lang="en-US" sz="3600" dirty="0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latin typeface="+mj-lt"/>
                <a:cs typeface="Segoe UI Semibold" panose="020B0702040204020203" pitchFamily="34" charset="0"/>
              </a:rPr>
              <a:t>External Models</a:t>
            </a:r>
          </a:p>
          <a:p>
            <a:pPr marL="292100" lvl="2" defTabSz="932742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Dataset metadata stored in Power BI</a:t>
            </a:r>
          </a:p>
          <a:p>
            <a:pPr marL="292100" lvl="2" defTabSz="932742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cs typeface="Segoe UI Semilight" panose="020B0402040204020203" pitchFamily="34" charset="0"/>
              </a:rPr>
              <a:t>Data stored externally</a:t>
            </a:r>
          </a:p>
        </p:txBody>
      </p:sp>
    </p:spTree>
    <p:extLst>
      <p:ext uri="{BB962C8B-B14F-4D97-AF65-F5344CB8AC3E}">
        <p14:creationId xmlns:p14="http://schemas.microsoft.com/office/powerpoint/2010/main" val="1127532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73495">
        <p:fade/>
      </p:transition>
    </mc:Choice>
    <mc:Fallback xmlns="">
      <p:transition spd="med" advTm="73495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732269-2646-4E69-B292-44CEB2100E8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754363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bd27f58f-8c31-4e7f-8019-4e9ea7440194&quot;,&quot;TimeStamp&quot;:&quot;2019-04-15T09:10:03.5177621-07:00&quot;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.7|33.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6|17.5|16.6|25|41.2"/>
</p:tagLst>
</file>

<file path=ppt/theme/theme1.xml><?xml version="1.0" encoding="utf-8"?>
<a:theme xmlns:a="http://schemas.openxmlformats.org/drawingml/2006/main" name="STB Product Families 201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74E9C57C-7738-40E5-9DA5-A2AFCC4D2718}" vid="{7E277684-3874-467C-95CC-44A3A115C10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37B333D9039F42B4A841E7D21AD3E7" ma:contentTypeVersion="7" ma:contentTypeDescription="Create a new document." ma:contentTypeScope="" ma:versionID="385892ca22301f732aa61e9e24b0427a">
  <xsd:schema xmlns:xsd="http://www.w3.org/2001/XMLSchema" xmlns:xs="http://www.w3.org/2001/XMLSchema" xmlns:p="http://schemas.microsoft.com/office/2006/metadata/properties" xmlns:ns2="3520180a-3b72-4868-9ddb-261d82f11a91" targetNamespace="http://schemas.microsoft.com/office/2006/metadata/properties" ma:root="true" ma:fieldsID="524886d73bd9f25fcf95cbf5af8c08e0" ns2:_="">
    <xsd:import namespace="3520180a-3b72-4868-9ddb-261d82f11a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20180a-3b72-4868-9ddb-261d82f11a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1501628-9772-4040-AFE7-CF441DF989DC}"/>
</file>

<file path=customXml/itemProps2.xml><?xml version="1.0" encoding="utf-8"?>
<ds:datastoreItem xmlns:ds="http://schemas.openxmlformats.org/officeDocument/2006/customXml" ds:itemID="{5148A5D7-FD0D-4497-ADB2-773C6533B2F9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DE526520-222D-4E7B-A419-9D8181B2C45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4</Words>
  <Application>Microsoft Office PowerPoint</Application>
  <PresentationFormat>Widescreen</PresentationFormat>
  <Paragraphs>45</Paragraphs>
  <Slides>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5" baseType="lpstr">
      <vt:lpstr>Arial</vt:lpstr>
      <vt:lpstr>Calibri</vt:lpstr>
      <vt:lpstr>Segoe UI</vt:lpstr>
      <vt:lpstr>Segoe UI Black</vt:lpstr>
      <vt:lpstr>Segoe UI Light</vt:lpstr>
      <vt:lpstr>Segoe UI Semibold</vt:lpstr>
      <vt:lpstr>Wingdings</vt:lpstr>
      <vt:lpstr>STB Product Families 2015</vt:lpstr>
      <vt:lpstr>think-cell Slide</vt:lpstr>
      <vt:lpstr>Power BI Adoption Framework</vt:lpstr>
      <vt:lpstr>Why Security needs to be reviewed</vt:lpstr>
      <vt:lpstr>Considerations</vt:lpstr>
      <vt:lpstr>PowerPoint Presentation</vt:lpstr>
      <vt:lpstr>PowerPoint Presentation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crosoft Power BI  Security</dc:title>
  <dc:creator/>
  <cp:lastModifiedBy/>
  <cp:revision>1</cp:revision>
  <dcterms:modified xsi:type="dcterms:W3CDTF">2019-11-08T18:09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37B333D9039F42B4A841E7D21AD3E7</vt:lpwstr>
  </property>
  <property fmtid="{D5CDD505-2E9C-101B-9397-08002B2CF9AE}" pid="3" name="p1cd454bacc149bfbcfd764edd279de7">
    <vt:lpwstr/>
  </property>
  <property fmtid="{D5CDD505-2E9C-101B-9397-08002B2CF9AE}" pid="4" name="of67e5d4b76f4a9db8769983fda9cec0">
    <vt:lpwstr/>
  </property>
  <property fmtid="{D5CDD505-2E9C-101B-9397-08002B2CF9AE}" pid="5" name="TaxKeyword">
    <vt:lpwstr/>
  </property>
  <property fmtid="{D5CDD505-2E9C-101B-9397-08002B2CF9AE}" pid="6" name="NewsType">
    <vt:lpwstr/>
  </property>
  <property fmtid="{D5CDD505-2E9C-101B-9397-08002B2CF9AE}" pid="7" name="_dlc_policyId">
    <vt:lpwstr/>
  </property>
  <property fmtid="{D5CDD505-2E9C-101B-9397-08002B2CF9AE}" pid="8" name="Region">
    <vt:lpwstr/>
  </property>
  <property fmtid="{D5CDD505-2E9C-101B-9397-08002B2CF9AE}" pid="9" name="Confidentiality">
    <vt:lpwstr>14;#customer ready|8986c41d-21c5-4f8f-8a12-ea4625b46858</vt:lpwstr>
  </property>
  <property fmtid="{D5CDD505-2E9C-101B-9397-08002B2CF9AE}" pid="10" name="ItemType">
    <vt:lpwstr>435;#technical presentations|83a894cf-702b-47fc-aba5-41bd10dc1e75;#351;#feedback requests|00ce1828-98a3-430e-af54-eda270e1be04</vt:lpwstr>
  </property>
  <property fmtid="{D5CDD505-2E9C-101B-9397-08002B2CF9AE}" pid="11" name="bc28b5f076654a3b96073bbbebfeb8c9">
    <vt:lpwstr/>
  </property>
  <property fmtid="{D5CDD505-2E9C-101B-9397-08002B2CF9AE}" pid="12" name="ga0c0bf70a6644469c61b3efa7025301">
    <vt:lpwstr/>
  </property>
  <property fmtid="{D5CDD505-2E9C-101B-9397-08002B2CF9AE}" pid="13" name="Industries">
    <vt:lpwstr/>
  </property>
  <property fmtid="{D5CDD505-2E9C-101B-9397-08002B2CF9AE}" pid="14" name="MSProducts">
    <vt:lpwstr/>
  </property>
  <property fmtid="{D5CDD505-2E9C-101B-9397-08002B2CF9AE}" pid="15" name="j4d667fb28274e85b2214f6e751c8d1f">
    <vt:lpwstr/>
  </property>
  <property fmtid="{D5CDD505-2E9C-101B-9397-08002B2CF9AE}" pid="16" name="Competitors">
    <vt:lpwstr/>
  </property>
  <property fmtid="{D5CDD505-2E9C-101B-9397-08002B2CF9AE}" pid="17" name="SMSGDomain">
    <vt:lpwstr>82;#SQL Server Domain|0c0f1824-39dc-4b26-8c74-eff4364b812b;#22;#Server and Tools Business|6783548d-8609-4f97-be4a-4ca2616905a6</vt:lpwstr>
  </property>
  <property fmtid="{D5CDD505-2E9C-101B-9397-08002B2CF9AE}" pid="18" name="ExperienceContentType">
    <vt:lpwstr/>
  </property>
  <property fmtid="{D5CDD505-2E9C-101B-9397-08002B2CF9AE}" pid="19" name="BusinessArchitecture">
    <vt:lpwstr>231;#business intelligence|e1f9659f-bde9-4479-81f9-2bc6e8ec0057;#166;#Power BI solution|a774047b-2f39-4ee6-a302-4d53f94b9400</vt:lpwstr>
  </property>
  <property fmtid="{D5CDD505-2E9C-101B-9397-08002B2CF9AE}" pid="20" name="j031aa32f4154c8c9a646efae715ebde">
    <vt:lpwstr/>
  </property>
  <property fmtid="{D5CDD505-2E9C-101B-9397-08002B2CF9AE}" pid="21" name="Products">
    <vt:lpwstr>73;#Microsoft SQL Server|261ba873-f3ab-420e-96d6-e3004596a551;#598;#Microsoft SQL Server Business Intelligence|9ffb7045-1f1b-41c0-987f-ffdc7c6f53c0</vt:lpwstr>
  </property>
  <property fmtid="{D5CDD505-2E9C-101B-9397-08002B2CF9AE}" pid="22" name="ContentExtensions">
    <vt:lpwstr/>
  </property>
  <property fmtid="{D5CDD505-2E9C-101B-9397-08002B2CF9AE}" pid="23" name="WorkflowChangePath">
    <vt:lpwstr>4c942473-d120-4286-a51a-b65ad3d92ffb,2;4c942473-d120-4286-a51a-b65ad3d92ffb,2;4c942473-d120-4286-a51a-b65ad3d92ffb,2;4c942473-d120-4286-a51a-b65ad3d92ffb,2;4c942473-d120-4286-a51a-b65ad3d92ffb,16;4c942473-d120-4286-a51a-b65ad3d92ffb,20;4c942473-d120-4286-</vt:lpwstr>
  </property>
  <property fmtid="{D5CDD505-2E9C-101B-9397-08002B2CF9AE}" pid="24" name="l6f004f21209409da86a713c0f24627d">
    <vt:lpwstr/>
  </property>
  <property fmtid="{D5CDD505-2E9C-101B-9397-08002B2CF9AE}" pid="25" name="MSProductsTaxHTField0">
    <vt:lpwstr/>
  </property>
  <property fmtid="{D5CDD505-2E9C-101B-9397-08002B2CF9AE}" pid="26" name="Topics">
    <vt:lpwstr/>
  </property>
  <property fmtid="{D5CDD505-2E9C-101B-9397-08002B2CF9AE}" pid="27" name="Groups">
    <vt:lpwstr>399;#SQL Server Marketing|bb7921b3-c1d8-4da4-b894-8b6075d9546d;#42;#Cloud and Enterprise Marketing Group|4f75e184-e5aa-4234-a07f-b032d60df254</vt:lpwstr>
  </property>
  <property fmtid="{D5CDD505-2E9C-101B-9397-08002B2CF9AE}" pid="28" name="_docset_NoMedatataSyncRequired">
    <vt:lpwstr>False</vt:lpwstr>
  </property>
  <property fmtid="{D5CDD505-2E9C-101B-9397-08002B2CF9AE}" pid="29" name="MSLanguage">
    <vt:lpwstr/>
  </property>
  <property fmtid="{D5CDD505-2E9C-101B-9397-08002B2CF9AE}" pid="30" name="e8080b0481964c759b2c36ae49591b31">
    <vt:lpwstr/>
  </property>
  <property fmtid="{D5CDD505-2E9C-101B-9397-08002B2CF9AE}" pid="31" name="Languages">
    <vt:lpwstr/>
  </property>
  <property fmtid="{D5CDD505-2E9C-101B-9397-08002B2CF9AE}" pid="32" name="messageframeworktype">
    <vt:lpwstr/>
  </property>
  <property fmtid="{D5CDD505-2E9C-101B-9397-08002B2CF9AE}" pid="33" name="cb7870d3641f4a52807a63577a9c1b08">
    <vt:lpwstr/>
  </property>
  <property fmtid="{D5CDD505-2E9C-101B-9397-08002B2CF9AE}" pid="34" name="TechnicalLevel">
    <vt:lpwstr/>
  </property>
  <property fmtid="{D5CDD505-2E9C-101B-9397-08002B2CF9AE}" pid="35" name="Audiences">
    <vt:lpwstr/>
  </property>
  <property fmtid="{D5CDD505-2E9C-101B-9397-08002B2CF9AE}" pid="36" name="LearningOrganization">
    <vt:lpwstr/>
  </property>
  <property fmtid="{D5CDD505-2E9C-101B-9397-08002B2CF9AE}" pid="37" name="ldac8aee9d1f469e8cd8c3f8d6a615f2">
    <vt:lpwstr/>
  </property>
  <property fmtid="{D5CDD505-2E9C-101B-9397-08002B2CF9AE}" pid="38" name="EmployeeRole">
    <vt:lpwstr/>
  </property>
  <property fmtid="{D5CDD505-2E9C-101B-9397-08002B2CF9AE}" pid="39" name="NewsTopic">
    <vt:lpwstr/>
  </property>
  <property fmtid="{D5CDD505-2E9C-101B-9397-08002B2CF9AE}" pid="40" name="SalesGeography">
    <vt:lpwstr/>
  </property>
  <property fmtid="{D5CDD505-2E9C-101B-9397-08002B2CF9AE}" pid="41" name="LearningDeliveryMethod">
    <vt:lpwstr/>
  </property>
  <property fmtid="{D5CDD505-2E9C-101B-9397-08002B2CF9AE}" pid="42" name="Roles">
    <vt:lpwstr/>
  </property>
  <property fmtid="{D5CDD505-2E9C-101B-9397-08002B2CF9AE}" pid="43" name="ItemRetentionFormula">
    <vt:lpwstr/>
  </property>
  <property fmtid="{D5CDD505-2E9C-101B-9397-08002B2CF9AE}" pid="44" name="NewsSource">
    <vt:lpwstr/>
  </property>
  <property fmtid="{D5CDD505-2E9C-101B-9397-08002B2CF9AE}" pid="45" name="SMSGTags">
    <vt:lpwstr/>
  </property>
  <property fmtid="{D5CDD505-2E9C-101B-9397-08002B2CF9AE}" pid="46" name="_dlc_DocIdItemGuid">
    <vt:lpwstr>07721352-f0bf-41fc-8da7-ba3749a88128</vt:lpwstr>
  </property>
  <property fmtid="{D5CDD505-2E9C-101B-9397-08002B2CF9AE}" pid="47" name="MSPhysicalGeography">
    <vt:lpwstr/>
  </property>
  <property fmtid="{D5CDD505-2E9C-101B-9397-08002B2CF9AE}" pid="48" name="l311460e3fdf46688abc31ddb7bdc05a">
    <vt:lpwstr/>
  </property>
  <property fmtid="{D5CDD505-2E9C-101B-9397-08002B2CF9AE}" pid="49" name="EnterpriseDomainTags">
    <vt:lpwstr/>
  </property>
  <property fmtid="{D5CDD505-2E9C-101B-9397-08002B2CF9AE}" pid="50" name="j3562c58ee414e028925bc902cfc01a1">
    <vt:lpwstr/>
  </property>
  <property fmtid="{D5CDD505-2E9C-101B-9397-08002B2CF9AE}" pid="51" name="ActivitiesAndPrograms">
    <vt:lpwstr/>
  </property>
  <property fmtid="{D5CDD505-2E9C-101B-9397-08002B2CF9AE}" pid="52" name="Segments">
    <vt:lpwstr/>
  </property>
  <property fmtid="{D5CDD505-2E9C-101B-9397-08002B2CF9AE}" pid="53" name="Partners">
    <vt:lpwstr/>
  </property>
  <property fmtid="{D5CDD505-2E9C-101B-9397-08002B2CF9AE}" pid="54" name="la4444b61d19467597d63190b69ac227">
    <vt:lpwstr/>
  </property>
  <property fmtid="{D5CDD505-2E9C-101B-9397-08002B2CF9AE}" pid="55" name="SharedWithUsers">
    <vt:lpwstr>63906;#Hui Jeng Lee (Alfa Connections Pte Ltd)</vt:lpwstr>
  </property>
  <property fmtid="{D5CDD505-2E9C-101B-9397-08002B2CF9AE}" pid="56" name="MSIP_Label_f42aa342-8706-4288-bd11-ebb85995028c_Enabled">
    <vt:lpwstr>True</vt:lpwstr>
  </property>
  <property fmtid="{D5CDD505-2E9C-101B-9397-08002B2CF9AE}" pid="57" name="MSIP_Label_f42aa342-8706-4288-bd11-ebb85995028c_SiteId">
    <vt:lpwstr>72f988bf-86f1-41af-91ab-2d7cd011db47</vt:lpwstr>
  </property>
  <property fmtid="{D5CDD505-2E9C-101B-9397-08002B2CF9AE}" pid="58" name="MSIP_Label_f42aa342-8706-4288-bd11-ebb85995028c_Ref">
    <vt:lpwstr>https://api.informationprotection.azure.com/api/72f988bf-86f1-41af-91ab-2d7cd011db47</vt:lpwstr>
  </property>
  <property fmtid="{D5CDD505-2E9C-101B-9397-08002B2CF9AE}" pid="59" name="MSIP_Label_f42aa342-8706-4288-bd11-ebb85995028c_Owner">
    <vt:lpwstr>makanw@microsoft.com</vt:lpwstr>
  </property>
  <property fmtid="{D5CDD505-2E9C-101B-9397-08002B2CF9AE}" pid="60" name="MSIP_Label_f42aa342-8706-4288-bd11-ebb85995028c_SetDate">
    <vt:lpwstr>2017-10-10T13:02:40.6276031+01:00</vt:lpwstr>
  </property>
  <property fmtid="{D5CDD505-2E9C-101B-9397-08002B2CF9AE}" pid="61" name="MSIP_Label_f42aa342-8706-4288-bd11-ebb85995028c_Name">
    <vt:lpwstr>General</vt:lpwstr>
  </property>
  <property fmtid="{D5CDD505-2E9C-101B-9397-08002B2CF9AE}" pid="62" name="MSIP_Label_f42aa342-8706-4288-bd11-ebb85995028c_Application">
    <vt:lpwstr>Microsoft Azure Information Protection</vt:lpwstr>
  </property>
  <property fmtid="{D5CDD505-2E9C-101B-9397-08002B2CF9AE}" pid="63" name="MSIP_Label_f42aa342-8706-4288-bd11-ebb85995028c_Extended_MSFT_Method">
    <vt:lpwstr>Automatic</vt:lpwstr>
  </property>
  <property fmtid="{D5CDD505-2E9C-101B-9397-08002B2CF9AE}" pid="64" name="Sensitivity">
    <vt:lpwstr>General</vt:lpwstr>
  </property>
  <property fmtid="{D5CDD505-2E9C-101B-9397-08002B2CF9AE}" pid="65" name="AuthorIds_UIVersion_1536">
    <vt:lpwstr>10</vt:lpwstr>
  </property>
</Properties>
</file>